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4" r:id="rId1"/>
  </p:sldMasterIdLst>
  <p:notesMasterIdLst>
    <p:notesMasterId r:id="rId15"/>
  </p:notesMasterIdLst>
  <p:sldIdLst>
    <p:sldId id="257" r:id="rId2"/>
    <p:sldId id="259" r:id="rId3"/>
    <p:sldId id="266" r:id="rId4"/>
    <p:sldId id="309" r:id="rId5"/>
    <p:sldId id="269" r:id="rId6"/>
    <p:sldId id="267" r:id="rId7"/>
    <p:sldId id="268" r:id="rId8"/>
    <p:sldId id="270" r:id="rId9"/>
    <p:sldId id="271" r:id="rId10"/>
    <p:sldId id="272" r:id="rId11"/>
    <p:sldId id="273" r:id="rId12"/>
    <p:sldId id="274" r:id="rId13"/>
    <p:sldId id="308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7DA74A2-5CB4-4955-B04B-9D8F746D664F}">
          <p14:sldIdLst>
            <p14:sldId id="257"/>
            <p14:sldId id="259"/>
            <p14:sldId id="266"/>
            <p14:sldId id="309"/>
            <p14:sldId id="269"/>
            <p14:sldId id="267"/>
            <p14:sldId id="268"/>
            <p14:sldId id="270"/>
            <p14:sldId id="271"/>
            <p14:sldId id="272"/>
            <p14:sldId id="273"/>
            <p14:sldId id="274"/>
            <p14:sldId id="30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686"/>
    <a:srgbClr val="499FFF"/>
    <a:srgbClr val="007DC6"/>
    <a:srgbClr val="75CFFF"/>
    <a:srgbClr val="252525"/>
    <a:srgbClr val="002B49"/>
    <a:srgbClr val="0085CA"/>
    <a:srgbClr val="0064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E0BD40-89A8-4A1F-9F41-6C8E89AB2FBB}" v="224" dt="2019-06-14T21:51:12.06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67" d="100"/>
          <a:sy n="67" d="100"/>
        </p:scale>
        <p:origin x="568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illiam Hunter" userId="fe35ec8f832bb40a" providerId="LiveId" clId="{1CE0BD40-89A8-4A1F-9F41-6C8E89AB2FBB}"/>
    <pc:docChg chg="undo custSel addSld delSld modSld sldOrd addMainMaster delMainMaster modMainMaster">
      <pc:chgData name="William Hunter" userId="fe35ec8f832bb40a" providerId="LiveId" clId="{1CE0BD40-89A8-4A1F-9F41-6C8E89AB2FBB}" dt="2019-06-14T21:51:12.069" v="4058"/>
      <pc:docMkLst>
        <pc:docMk/>
      </pc:docMkLst>
      <pc:sldChg chg="del">
        <pc:chgData name="William Hunter" userId="fe35ec8f832bb40a" providerId="LiveId" clId="{1CE0BD40-89A8-4A1F-9F41-6C8E89AB2FBB}" dt="2019-06-14T16:38:41.599" v="5" actId="2696"/>
        <pc:sldMkLst>
          <pc:docMk/>
          <pc:sldMk cId="7006863" sldId="256"/>
        </pc:sldMkLst>
      </pc:sldChg>
      <pc:sldChg chg="modSp">
        <pc:chgData name="William Hunter" userId="fe35ec8f832bb40a" providerId="LiveId" clId="{1CE0BD40-89A8-4A1F-9F41-6C8E89AB2FBB}" dt="2019-06-14T16:39:01.266" v="71" actId="20577"/>
        <pc:sldMkLst>
          <pc:docMk/>
          <pc:sldMk cId="723306023" sldId="257"/>
        </pc:sldMkLst>
        <pc:spChg chg="mod">
          <ac:chgData name="William Hunter" userId="fe35ec8f832bb40a" providerId="LiveId" clId="{1CE0BD40-89A8-4A1F-9F41-6C8E89AB2FBB}" dt="2019-06-14T16:39:01.266" v="71" actId="20577"/>
          <ac:spMkLst>
            <pc:docMk/>
            <pc:sldMk cId="723306023" sldId="257"/>
            <ac:spMk id="18" creationId="{00000000-0000-0000-0000-000000000000}"/>
          </ac:spMkLst>
        </pc:spChg>
      </pc:sldChg>
      <pc:sldChg chg="del">
        <pc:chgData name="William Hunter" userId="fe35ec8f832bb40a" providerId="LiveId" clId="{1CE0BD40-89A8-4A1F-9F41-6C8E89AB2FBB}" dt="2019-06-14T21:43:38.241" v="3918" actId="2696"/>
        <pc:sldMkLst>
          <pc:docMk/>
          <pc:sldMk cId="150810068" sldId="258"/>
        </pc:sldMkLst>
      </pc:sldChg>
      <pc:sldChg chg="addSp delSp modSp add ord">
        <pc:chgData name="William Hunter" userId="fe35ec8f832bb40a" providerId="LiveId" clId="{1CE0BD40-89A8-4A1F-9F41-6C8E89AB2FBB}" dt="2019-06-14T21:44:09.494" v="3930" actId="207"/>
        <pc:sldMkLst>
          <pc:docMk/>
          <pc:sldMk cId="1391597717" sldId="259"/>
        </pc:sldMkLst>
        <pc:spChg chg="add del mod">
          <ac:chgData name="William Hunter" userId="fe35ec8f832bb40a" providerId="LiveId" clId="{1CE0BD40-89A8-4A1F-9F41-6C8E89AB2FBB}" dt="2019-06-14T17:46:35.407" v="203" actId="478"/>
          <ac:spMkLst>
            <pc:docMk/>
            <pc:sldMk cId="1391597717" sldId="259"/>
            <ac:spMk id="3" creationId="{82398D81-4D9E-4CD6-9E4C-1800BD51A561}"/>
          </ac:spMkLst>
        </pc:spChg>
        <pc:spChg chg="mod">
          <ac:chgData name="William Hunter" userId="fe35ec8f832bb40a" providerId="LiveId" clId="{1CE0BD40-89A8-4A1F-9F41-6C8E89AB2FBB}" dt="2019-06-14T17:36:38.261" v="96" actId="20577"/>
          <ac:spMkLst>
            <pc:docMk/>
            <pc:sldMk cId="1391597717" sldId="259"/>
            <ac:spMk id="6" creationId="{00000000-0000-0000-0000-000000000000}"/>
          </ac:spMkLst>
        </pc:spChg>
        <pc:spChg chg="del">
          <ac:chgData name="William Hunter" userId="fe35ec8f832bb40a" providerId="LiveId" clId="{1CE0BD40-89A8-4A1F-9F41-6C8E89AB2FBB}" dt="2019-06-14T17:46:32.329" v="200" actId="478"/>
          <ac:spMkLst>
            <pc:docMk/>
            <pc:sldMk cId="1391597717" sldId="259"/>
            <ac:spMk id="7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9" creationId="{D2FFAC38-3C3E-497A-8EC4-5B69E055003F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0" creationId="{2D6582F3-794A-45F3-99ED-193EEEEF4913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3" creationId="{64A59484-5114-42B3-B577-4DCFA59C0054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4" creationId="{4F394A2C-ED9E-4B44-B406-38E6BD4D58F8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5" creationId="{76D96CBB-7980-4C8F-B40A-E89D4502540C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6" creationId="{B2485977-8290-4C7E-BB27-E401AB3FF765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7" creationId="{6D16165F-899E-429B-85D4-8700274E4C0A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8" creationId="{9DE4F325-BBF1-4C14-96B8-2758CEE74F8E}"/>
          </ac:spMkLst>
        </pc:spChg>
        <pc:spChg chg="add del">
          <ac:chgData name="William Hunter" userId="fe35ec8f832bb40a" providerId="LiveId" clId="{1CE0BD40-89A8-4A1F-9F41-6C8E89AB2FBB}" dt="2019-06-14T17:46:33.495" v="202"/>
          <ac:spMkLst>
            <pc:docMk/>
            <pc:sldMk cId="1391597717" sldId="259"/>
            <ac:spMk id="19" creationId="{266B97FE-9E52-48B1-AB5D-EFEB607BA2EC}"/>
          </ac:spMkLst>
        </pc:spChg>
        <pc:spChg chg="add del mod">
          <ac:chgData name="William Hunter" userId="fe35ec8f832bb40a" providerId="LiveId" clId="{1CE0BD40-89A8-4A1F-9F41-6C8E89AB2FBB}" dt="2019-06-14T17:43:05.582" v="199" actId="20577"/>
          <ac:spMkLst>
            <pc:docMk/>
            <pc:sldMk cId="1391597717" sldId="259"/>
            <ac:spMk id="22" creationId="{00000000-0000-0000-0000-000000000000}"/>
          </ac:spMkLst>
        </pc:spChg>
        <pc:spChg chg="add mod">
          <ac:chgData name="William Hunter" userId="fe35ec8f832bb40a" providerId="LiveId" clId="{1CE0BD40-89A8-4A1F-9F41-6C8E89AB2FBB}" dt="2019-06-14T17:51:31.025" v="205" actId="207"/>
          <ac:spMkLst>
            <pc:docMk/>
            <pc:sldMk cId="1391597717" sldId="259"/>
            <ac:spMk id="25" creationId="{7DB0955A-E971-4B30-BB58-BE5E21B87E38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26" creationId="{F028FBAD-9998-48FC-AC99-DA3D0FCEE00A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27" creationId="{C0743BF0-67BC-4ACA-A6F1-A00AFAF1FD90}"/>
          </ac:spMkLst>
        </pc:spChg>
        <pc:spChg chg="add mod">
          <ac:chgData name="William Hunter" userId="fe35ec8f832bb40a" providerId="LiveId" clId="{1CE0BD40-89A8-4A1F-9F41-6C8E89AB2FBB}" dt="2019-06-14T17:56:12.271" v="213" actId="207"/>
          <ac:spMkLst>
            <pc:docMk/>
            <pc:sldMk cId="1391597717" sldId="259"/>
            <ac:spMk id="28" creationId="{54E45F92-0326-4467-A43B-2F0717CD3C87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29" creationId="{E118FC50-9421-4553-96D3-A6B246168FEB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30" creationId="{28C2B99E-A1B7-463D-B0D7-BDE5683472D5}"/>
          </ac:spMkLst>
        </pc:spChg>
        <pc:spChg chg="add mod">
          <ac:chgData name="William Hunter" userId="fe35ec8f832bb40a" providerId="LiveId" clId="{1CE0BD40-89A8-4A1F-9F41-6C8E89AB2FBB}" dt="2019-06-14T18:10:34.059" v="349" actId="1038"/>
          <ac:spMkLst>
            <pc:docMk/>
            <pc:sldMk cId="1391597717" sldId="259"/>
            <ac:spMk id="31" creationId="{20361811-E198-4368-BED2-843A53296E2E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32" creationId="{40E6C342-84C8-4B14-A238-65245998A1EC}"/>
          </ac:spMkLst>
        </pc:spChg>
        <pc:spChg chg="add mod">
          <ac:chgData name="William Hunter" userId="fe35ec8f832bb40a" providerId="LiveId" clId="{1CE0BD40-89A8-4A1F-9F41-6C8E89AB2FBB}" dt="2019-06-14T21:44:09.494" v="3930" actId="207"/>
          <ac:spMkLst>
            <pc:docMk/>
            <pc:sldMk cId="1391597717" sldId="259"/>
            <ac:spMk id="33" creationId="{B0107170-0F62-4EF2-8A84-70B98950B457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47" creationId="{5614BE66-6275-4F17-9D0B-4F817163E6AA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48" creationId="{CE652E3A-DD45-4281-8A3C-151B41A6FDEE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49" creationId="{55CF7A5C-9F28-41C1-AF6C-51EA0B5C1048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0" creationId="{F5AA4DF5-74DB-416F-9949-8D2B77AD5685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1" creationId="{073DB959-DE39-4FA5-8BD0-64E4FCE85954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2" creationId="{D027DA4E-D42A-4808-A62F-B1EE54028748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3" creationId="{32E83253-083C-41CD-82EE-E37BB198D353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4" creationId="{009D5764-E7E6-43BC-970D-CCBEBC17D35A}"/>
          </ac:spMkLst>
        </pc:spChg>
        <pc:spChg chg="add del">
          <ac:chgData name="William Hunter" userId="fe35ec8f832bb40a" providerId="LiveId" clId="{1CE0BD40-89A8-4A1F-9F41-6C8E89AB2FBB}" dt="2019-06-14T18:14:00.629" v="382"/>
          <ac:spMkLst>
            <pc:docMk/>
            <pc:sldMk cId="1391597717" sldId="259"/>
            <ac:spMk id="55" creationId="{FAE679AA-46DF-4A27-8CC1-A85B70652503}"/>
          </ac:spMkLst>
        </pc:spChg>
        <pc:picChg chg="add del mod">
          <ac:chgData name="William Hunter" userId="fe35ec8f832bb40a" providerId="LiveId" clId="{1CE0BD40-89A8-4A1F-9F41-6C8E89AB2FBB}" dt="2019-06-14T18:04:16.558" v="223" actId="478"/>
          <ac:picMkLst>
            <pc:docMk/>
            <pc:sldMk cId="1391597717" sldId="259"/>
            <ac:picMk id="5" creationId="{2BB99E6F-CFA8-478E-ACBA-CC0EC0914D54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0" creationId="{54D5D958-15BC-4122-8916-3417DCAE4F36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1" creationId="{D416A9A0-145A-496D-8433-F142DF0127DB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3" creationId="{C2B27AB3-8C84-43B9-933F-B93E9F94D4FA}"/>
          </ac:picMkLst>
        </pc:picChg>
        <pc:picChg chg="add del">
          <ac:chgData name="William Hunter" userId="fe35ec8f832bb40a" providerId="LiveId" clId="{1CE0BD40-89A8-4A1F-9F41-6C8E89AB2FBB}" dt="2019-06-14T17:46:33.495" v="202"/>
          <ac:picMkLst>
            <pc:docMk/>
            <pc:sldMk cId="1391597717" sldId="259"/>
            <ac:picMk id="24" creationId="{9AC5BA20-FAF9-462A-9D68-54137A2CD44A}"/>
          </ac:picMkLst>
        </pc:picChg>
        <pc:picChg chg="add del">
          <ac:chgData name="William Hunter" userId="fe35ec8f832bb40a" providerId="LiveId" clId="{1CE0BD40-89A8-4A1F-9F41-6C8E89AB2FBB}" dt="2019-06-14T18:06:08.607" v="233" actId="478"/>
          <ac:picMkLst>
            <pc:docMk/>
            <pc:sldMk cId="1391597717" sldId="259"/>
            <ac:picMk id="34" creationId="{C094D169-50C3-4ED6-8373-56FE51E643FC}"/>
          </ac:picMkLst>
        </pc:picChg>
        <pc:picChg chg="add del">
          <ac:chgData name="William Hunter" userId="fe35ec8f832bb40a" providerId="LiveId" clId="{1CE0BD40-89A8-4A1F-9F41-6C8E89AB2FBB}" dt="2019-06-14T18:06:32.227" v="244" actId="478"/>
          <ac:picMkLst>
            <pc:docMk/>
            <pc:sldMk cId="1391597717" sldId="259"/>
            <ac:picMk id="35" creationId="{1370A5DE-7941-4127-BFAF-D821C3CE6A52}"/>
          </ac:picMkLst>
        </pc:picChg>
        <pc:picChg chg="add del">
          <ac:chgData name="William Hunter" userId="fe35ec8f832bb40a" providerId="LiveId" clId="{1CE0BD40-89A8-4A1F-9F41-6C8E89AB2FBB}" dt="2019-06-14T18:06:22.237" v="241" actId="478"/>
          <ac:picMkLst>
            <pc:docMk/>
            <pc:sldMk cId="1391597717" sldId="259"/>
            <ac:picMk id="36" creationId="{97E4AFA5-04ED-4649-A930-C43256694D06}"/>
          </ac:picMkLst>
        </pc:picChg>
        <pc:picChg chg="add del">
          <ac:chgData name="William Hunter" userId="fe35ec8f832bb40a" providerId="LiveId" clId="{1CE0BD40-89A8-4A1F-9F41-6C8E89AB2FBB}" dt="2019-06-14T18:06:33.530" v="245" actId="478"/>
          <ac:picMkLst>
            <pc:docMk/>
            <pc:sldMk cId="1391597717" sldId="259"/>
            <ac:picMk id="37" creationId="{1406C862-003C-44CC-8127-B3A08099BD8A}"/>
          </ac:picMkLst>
        </pc:picChg>
        <pc:picChg chg="add del mod modCrop">
          <ac:chgData name="William Hunter" userId="fe35ec8f832bb40a" providerId="LiveId" clId="{1CE0BD40-89A8-4A1F-9F41-6C8E89AB2FBB}" dt="2019-06-14T18:05:11.345" v="231" actId="478"/>
          <ac:picMkLst>
            <pc:docMk/>
            <pc:sldMk cId="1391597717" sldId="259"/>
            <ac:picMk id="38" creationId="{F50DA50C-3B39-43A1-8AD3-254F7E19BB88}"/>
          </ac:picMkLst>
        </pc:picChg>
        <pc:picChg chg="add mod">
          <ac:chgData name="William Hunter" userId="fe35ec8f832bb40a" providerId="LiveId" clId="{1CE0BD40-89A8-4A1F-9F41-6C8E89AB2FBB}" dt="2019-06-14T18:06:35.991" v="247" actId="1076"/>
          <ac:picMkLst>
            <pc:docMk/>
            <pc:sldMk cId="1391597717" sldId="259"/>
            <ac:picMk id="40" creationId="{45395CED-E728-4EAC-9C76-602891650355}"/>
          </ac:picMkLst>
        </pc:picChg>
        <pc:picChg chg="add del mod">
          <ac:chgData name="William Hunter" userId="fe35ec8f832bb40a" providerId="LiveId" clId="{1CE0BD40-89A8-4A1F-9F41-6C8E89AB2FBB}" dt="2019-06-14T18:09:13.083" v="338" actId="478"/>
          <ac:picMkLst>
            <pc:docMk/>
            <pc:sldMk cId="1391597717" sldId="259"/>
            <ac:picMk id="42" creationId="{03D8C87D-AB74-42CD-BD86-5CEC52673A88}"/>
          </ac:picMkLst>
        </pc:picChg>
        <pc:picChg chg="add mod">
          <ac:chgData name="William Hunter" userId="fe35ec8f832bb40a" providerId="LiveId" clId="{1CE0BD40-89A8-4A1F-9F41-6C8E89AB2FBB}" dt="2019-06-14T18:10:24.768" v="348" actId="1076"/>
          <ac:picMkLst>
            <pc:docMk/>
            <pc:sldMk cId="1391597717" sldId="259"/>
            <ac:picMk id="44" creationId="{9BA82E3A-0B43-4B51-8444-DB0C4D44F10E}"/>
          </ac:picMkLst>
        </pc:picChg>
        <pc:picChg chg="add mod">
          <ac:chgData name="William Hunter" userId="fe35ec8f832bb40a" providerId="LiveId" clId="{1CE0BD40-89A8-4A1F-9F41-6C8E89AB2FBB}" dt="2019-06-14T18:11:35.492" v="380" actId="1076"/>
          <ac:picMkLst>
            <pc:docMk/>
            <pc:sldMk cId="1391597717" sldId="259"/>
            <ac:picMk id="46" creationId="{1004E45A-8D27-4C11-8F71-5485202FE490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6" creationId="{B15218E1-223C-4CDD-96AF-E39857547250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7" creationId="{ED7BDF4B-45F0-4D85-9B45-259AE4648987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8" creationId="{7F4E7667-6AD9-4219-BBD7-E9210870C722}"/>
          </ac:picMkLst>
        </pc:picChg>
        <pc:picChg chg="add del">
          <ac:chgData name="William Hunter" userId="fe35ec8f832bb40a" providerId="LiveId" clId="{1CE0BD40-89A8-4A1F-9F41-6C8E89AB2FBB}" dt="2019-06-14T18:14:00.629" v="382"/>
          <ac:picMkLst>
            <pc:docMk/>
            <pc:sldMk cId="1391597717" sldId="259"/>
            <ac:picMk id="59" creationId="{62823C24-DC04-4D23-AC97-0C4C029FE200}"/>
          </ac:picMkLst>
        </pc:picChg>
      </pc:sldChg>
      <pc:sldChg chg="del">
        <pc:chgData name="William Hunter" userId="fe35ec8f832bb40a" providerId="LiveId" clId="{1CE0BD40-89A8-4A1F-9F41-6C8E89AB2FBB}" dt="2019-06-14T16:38:40.370" v="0" actId="2696"/>
        <pc:sldMkLst>
          <pc:docMk/>
          <pc:sldMk cId="3255939990" sldId="259"/>
        </pc:sldMkLst>
      </pc:sldChg>
      <pc:sldChg chg="add del">
        <pc:chgData name="William Hunter" userId="fe35ec8f832bb40a" providerId="LiveId" clId="{1CE0BD40-89A8-4A1F-9F41-6C8E89AB2FBB}" dt="2019-06-14T17:42:36.421" v="146" actId="27028"/>
        <pc:sldMkLst>
          <pc:docMk/>
          <pc:sldMk cId="278067883" sldId="260"/>
        </pc:sldMkLst>
      </pc:sldChg>
      <pc:sldChg chg="add del ord">
        <pc:chgData name="William Hunter" userId="fe35ec8f832bb40a" providerId="LiveId" clId="{1CE0BD40-89A8-4A1F-9F41-6C8E89AB2FBB}" dt="2019-06-14T17:56:35.360" v="215" actId="2696"/>
        <pc:sldMkLst>
          <pc:docMk/>
          <pc:sldMk cId="510079589" sldId="260"/>
        </pc:sldMkLst>
      </pc:sldChg>
      <pc:sldChg chg="del">
        <pc:chgData name="William Hunter" userId="fe35ec8f832bb40a" providerId="LiveId" clId="{1CE0BD40-89A8-4A1F-9F41-6C8E89AB2FBB}" dt="2019-06-14T16:38:40.405" v="1" actId="2696"/>
        <pc:sldMkLst>
          <pc:docMk/>
          <pc:sldMk cId="2073291721" sldId="260"/>
        </pc:sldMkLst>
      </pc:sldChg>
      <pc:sldChg chg="addSp delSp modSp add modAnim">
        <pc:chgData name="William Hunter" userId="fe35ec8f832bb40a" providerId="LiveId" clId="{1CE0BD40-89A8-4A1F-9F41-6C8E89AB2FBB}" dt="2019-06-14T21:44:45.408" v="3951" actId="20577"/>
        <pc:sldMkLst>
          <pc:docMk/>
          <pc:sldMk cId="3760727422" sldId="260"/>
        </pc:sldMkLst>
        <pc:spChg chg="add del mod">
          <ac:chgData name="William Hunter" userId="fe35ec8f832bb40a" providerId="LiveId" clId="{1CE0BD40-89A8-4A1F-9F41-6C8E89AB2FBB}" dt="2019-06-14T18:19:35.253" v="481" actId="478"/>
          <ac:spMkLst>
            <pc:docMk/>
            <pc:sldMk cId="3760727422" sldId="260"/>
            <ac:spMk id="2" creationId="{60147CAE-1D06-4BA0-B7CC-BC106CE67244}"/>
          </ac:spMkLst>
        </pc:spChg>
        <pc:spChg chg="add del mod ord">
          <ac:chgData name="William Hunter" userId="fe35ec8f832bb40a" providerId="LiveId" clId="{1CE0BD40-89A8-4A1F-9F41-6C8E89AB2FBB}" dt="2019-06-14T18:19:35.253" v="481" actId="478"/>
          <ac:spMkLst>
            <pc:docMk/>
            <pc:sldMk cId="3760727422" sldId="260"/>
            <ac:spMk id="3" creationId="{93A53642-5AF8-4140-9F94-E2710608E8F6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4" creationId="{C978FDC4-7A22-4C71-B6AB-AA733DE25FB5}"/>
          </ac:spMkLst>
        </pc:spChg>
        <pc:spChg chg="mod">
          <ac:chgData name="William Hunter" userId="fe35ec8f832bb40a" providerId="LiveId" clId="{1CE0BD40-89A8-4A1F-9F41-6C8E89AB2FBB}" dt="2019-06-14T18:41:43.075" v="1089"/>
          <ac:spMkLst>
            <pc:docMk/>
            <pc:sldMk cId="3760727422" sldId="260"/>
            <ac:spMk id="6" creationId="{00000000-0000-0000-0000-000000000000}"/>
          </ac:spMkLst>
        </pc:spChg>
        <pc:spChg chg="add mod or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8" creationId="{9546AE66-BDDF-4C84-A5C4-DD38B22E179B}"/>
          </ac:spMkLst>
        </pc:spChg>
        <pc:spChg chg="add mod or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9" creationId="{DFCFF86C-9CC6-41D8-B1C7-B6C5C8C45675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10" creationId="{D1BCECDE-7806-41B5-B30C-8344259DD9B7}"/>
          </ac:spMkLst>
        </pc:spChg>
        <pc:spChg chg="add mod">
          <ac:chgData name="William Hunter" userId="fe35ec8f832bb40a" providerId="LiveId" clId="{1CE0BD40-89A8-4A1F-9F41-6C8E89AB2FBB}" dt="2019-06-14T21:44:31.502" v="3932" actId="20577"/>
          <ac:spMkLst>
            <pc:docMk/>
            <pc:sldMk cId="3760727422" sldId="260"/>
            <ac:spMk id="13" creationId="{137943DC-EE1D-4EF5-80F5-25804F99F6F4}"/>
          </ac:spMkLst>
        </pc:spChg>
        <pc:spChg chg="add del mod ord">
          <ac:chgData name="William Hunter" userId="fe35ec8f832bb40a" providerId="LiveId" clId="{1CE0BD40-89A8-4A1F-9F41-6C8E89AB2FBB}" dt="2019-06-14T18:30:40.565" v="770" actId="11529"/>
          <ac:spMkLst>
            <pc:docMk/>
            <pc:sldMk cId="3760727422" sldId="260"/>
            <ac:spMk id="14" creationId="{E9D2A0C5-516B-4439-B7BA-99B1B429CE03}"/>
          </ac:spMkLst>
        </pc:spChg>
        <pc:spChg chg="add del mod">
          <ac:chgData name="William Hunter" userId="fe35ec8f832bb40a" providerId="LiveId" clId="{1CE0BD40-89A8-4A1F-9F41-6C8E89AB2FBB}" dt="2019-06-14T18:17:48.326" v="452" actId="478"/>
          <ac:spMkLst>
            <pc:docMk/>
            <pc:sldMk cId="3760727422" sldId="260"/>
            <ac:spMk id="19" creationId="{5FF7234F-F15F-46C8-8ECA-64A8E15AB08C}"/>
          </ac:spMkLst>
        </pc:spChg>
        <pc:spChg chg="add del mod">
          <ac:chgData name="William Hunter" userId="fe35ec8f832bb40a" providerId="LiveId" clId="{1CE0BD40-89A8-4A1F-9F41-6C8E89AB2FBB}" dt="2019-06-14T18:19:35.253" v="481" actId="478"/>
          <ac:spMkLst>
            <pc:docMk/>
            <pc:sldMk cId="3760727422" sldId="260"/>
            <ac:spMk id="20" creationId="{B4F74495-ED50-474B-8587-BAC5B32C754F}"/>
          </ac:spMkLst>
        </pc:spChg>
        <pc:spChg chg="mod">
          <ac:chgData name="William Hunter" userId="fe35ec8f832bb40a" providerId="LiveId" clId="{1CE0BD40-89A8-4A1F-9F41-6C8E89AB2FBB}" dt="2019-06-14T18:41:47.267" v="1104" actId="20577"/>
          <ac:spMkLst>
            <pc:docMk/>
            <pc:sldMk cId="3760727422" sldId="260"/>
            <ac:spMk id="22" creationId="{00000000-0000-0000-0000-000000000000}"/>
          </ac:spMkLst>
        </pc:spChg>
        <pc:spChg chg="del">
          <ac:chgData name="William Hunter" userId="fe35ec8f832bb40a" providerId="LiveId" clId="{1CE0BD40-89A8-4A1F-9F41-6C8E89AB2FBB}" dt="2019-06-14T18:17:02.853" v="435" actId="478"/>
          <ac:spMkLst>
            <pc:docMk/>
            <pc:sldMk cId="3760727422" sldId="260"/>
            <ac:spMk id="25" creationId="{7DB0955A-E971-4B30-BB58-BE5E21B87E38}"/>
          </ac:spMkLst>
        </pc:spChg>
        <pc:spChg chg="del">
          <ac:chgData name="William Hunter" userId="fe35ec8f832bb40a" providerId="LiveId" clId="{1CE0BD40-89A8-4A1F-9F41-6C8E89AB2FBB}" dt="2019-06-14T18:17:02.481" v="434" actId="478"/>
          <ac:spMkLst>
            <pc:docMk/>
            <pc:sldMk cId="3760727422" sldId="260"/>
            <ac:spMk id="26" creationId="{F028FBAD-9998-48FC-AC99-DA3D0FCEE00A}"/>
          </ac:spMkLst>
        </pc:spChg>
        <pc:spChg chg="del">
          <ac:chgData name="William Hunter" userId="fe35ec8f832bb40a" providerId="LiveId" clId="{1CE0BD40-89A8-4A1F-9F41-6C8E89AB2FBB}" dt="2019-06-14T18:16:59.149" v="432" actId="478"/>
          <ac:spMkLst>
            <pc:docMk/>
            <pc:sldMk cId="3760727422" sldId="260"/>
            <ac:spMk id="27" creationId="{C0743BF0-67BC-4ACA-A6F1-A00AFAF1FD90}"/>
          </ac:spMkLst>
        </pc:spChg>
        <pc:spChg chg="del">
          <ac:chgData name="William Hunter" userId="fe35ec8f832bb40a" providerId="LiveId" clId="{1CE0BD40-89A8-4A1F-9F41-6C8E89AB2FBB}" dt="2019-06-14T18:16:58.239" v="430" actId="478"/>
          <ac:spMkLst>
            <pc:docMk/>
            <pc:sldMk cId="3760727422" sldId="260"/>
            <ac:spMk id="28" creationId="{54E45F92-0326-4467-A43B-2F0717CD3C87}"/>
          </ac:spMkLst>
        </pc:spChg>
        <pc:spChg chg="del">
          <ac:chgData name="William Hunter" userId="fe35ec8f832bb40a" providerId="LiveId" clId="{1CE0BD40-89A8-4A1F-9F41-6C8E89AB2FBB}" dt="2019-06-14T18:16:57.350" v="429" actId="478"/>
          <ac:spMkLst>
            <pc:docMk/>
            <pc:sldMk cId="3760727422" sldId="260"/>
            <ac:spMk id="29" creationId="{E118FC50-9421-4553-96D3-A6B246168FEB}"/>
          </ac:spMkLst>
        </pc:spChg>
        <pc:spChg chg="del">
          <ac:chgData name="William Hunter" userId="fe35ec8f832bb40a" providerId="LiveId" clId="{1CE0BD40-89A8-4A1F-9F41-6C8E89AB2FBB}" dt="2019-06-14T18:16:56.716" v="428" actId="478"/>
          <ac:spMkLst>
            <pc:docMk/>
            <pc:sldMk cId="3760727422" sldId="260"/>
            <ac:spMk id="30" creationId="{28C2B99E-A1B7-463D-B0D7-BDE5683472D5}"/>
          </ac:spMkLst>
        </pc:spChg>
        <pc:spChg chg="del">
          <ac:chgData name="William Hunter" userId="fe35ec8f832bb40a" providerId="LiveId" clId="{1CE0BD40-89A8-4A1F-9F41-6C8E89AB2FBB}" dt="2019-06-14T18:17:04.443" v="438" actId="478"/>
          <ac:spMkLst>
            <pc:docMk/>
            <pc:sldMk cId="3760727422" sldId="260"/>
            <ac:spMk id="31" creationId="{20361811-E198-4368-BED2-843A53296E2E}"/>
          </ac:spMkLst>
        </pc:spChg>
        <pc:spChg chg="del">
          <ac:chgData name="William Hunter" userId="fe35ec8f832bb40a" providerId="LiveId" clId="{1CE0BD40-89A8-4A1F-9F41-6C8E89AB2FBB}" dt="2019-06-14T18:17:03.528" v="436" actId="478"/>
          <ac:spMkLst>
            <pc:docMk/>
            <pc:sldMk cId="3760727422" sldId="260"/>
            <ac:spMk id="32" creationId="{40E6C342-84C8-4B14-A238-65245998A1EC}"/>
          </ac:spMkLst>
        </pc:spChg>
        <pc:spChg chg="del mod">
          <ac:chgData name="William Hunter" userId="fe35ec8f832bb40a" providerId="LiveId" clId="{1CE0BD40-89A8-4A1F-9F41-6C8E89AB2FBB}" dt="2019-06-14T18:17:05.730" v="440" actId="478"/>
          <ac:spMkLst>
            <pc:docMk/>
            <pc:sldMk cId="3760727422" sldId="260"/>
            <ac:spMk id="33" creationId="{B0107170-0F62-4EF2-8A84-70B98950B457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34" creationId="{09D5ED09-5DD3-43D6-B109-B0A56A814B2B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35" creationId="{FBF26284-AFDE-4F17-9202-581E83C51075}"/>
          </ac:spMkLst>
        </pc:spChg>
        <pc:spChg chg="add mod">
          <ac:chgData name="William Hunter" userId="fe35ec8f832bb40a" providerId="LiveId" clId="{1CE0BD40-89A8-4A1F-9F41-6C8E89AB2FBB}" dt="2019-06-14T18:44:14.969" v="1114" actId="1037"/>
          <ac:spMkLst>
            <pc:docMk/>
            <pc:sldMk cId="3760727422" sldId="260"/>
            <ac:spMk id="36" creationId="{7741F30F-1EB9-4866-A556-A4F79975B19A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38" creationId="{F9C667A1-B6A3-417C-AB1C-3D67A453BA4A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39" creationId="{D439D7C7-D78F-4CE2-BEE2-7A28841CC200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41" creationId="{839FD77E-2F70-424C-AB0B-BD98089B89A7}"/>
          </ac:spMkLst>
        </pc:spChg>
        <pc:spChg chg="add mod">
          <ac:chgData name="William Hunter" userId="fe35ec8f832bb40a" providerId="LiveId" clId="{1CE0BD40-89A8-4A1F-9F41-6C8E89AB2FBB}" dt="2019-06-14T18:31:33.468" v="777" actId="1076"/>
          <ac:spMkLst>
            <pc:docMk/>
            <pc:sldMk cId="3760727422" sldId="260"/>
            <ac:spMk id="42" creationId="{0DC558C4-B843-4547-B985-B998B2F13B0E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45" creationId="{58EA476C-97EB-4E66-8EE3-FF0F83E021A4}"/>
          </ac:spMkLst>
        </pc:spChg>
        <pc:spChg chg="add mod">
          <ac:chgData name="William Hunter" userId="fe35ec8f832bb40a" providerId="LiveId" clId="{1CE0BD40-89A8-4A1F-9F41-6C8E89AB2FBB}" dt="2019-06-14T18:34:28.503" v="912" actId="1076"/>
          <ac:spMkLst>
            <pc:docMk/>
            <pc:sldMk cId="3760727422" sldId="260"/>
            <ac:spMk id="47" creationId="{CB2BF2DA-6A72-4B14-A4BD-B0CEE8D9EC4A}"/>
          </ac:spMkLst>
        </pc:spChg>
        <pc:spChg chg="add mod">
          <ac:chgData name="William Hunter" userId="fe35ec8f832bb40a" providerId="LiveId" clId="{1CE0BD40-89A8-4A1F-9F41-6C8E89AB2FBB}" dt="2019-06-14T18:34:28.503" v="912" actId="1076"/>
          <ac:spMkLst>
            <pc:docMk/>
            <pc:sldMk cId="3760727422" sldId="260"/>
            <ac:spMk id="48" creationId="{A9A784DC-2C2F-41F2-8DCF-A2EFBD074317}"/>
          </ac:spMkLst>
        </pc:spChg>
        <pc:spChg chg="add mod">
          <ac:chgData name="William Hunter" userId="fe35ec8f832bb40a" providerId="LiveId" clId="{1CE0BD40-89A8-4A1F-9F41-6C8E89AB2FBB}" dt="2019-06-14T18:34:28.503" v="912" actId="1076"/>
          <ac:spMkLst>
            <pc:docMk/>
            <pc:sldMk cId="3760727422" sldId="260"/>
            <ac:spMk id="49" creationId="{503F7C0A-F978-4D52-ADA7-88E9E294CBBA}"/>
          </ac:spMkLst>
        </pc:spChg>
        <pc:spChg chg="add mod">
          <ac:chgData name="William Hunter" userId="fe35ec8f832bb40a" providerId="LiveId" clId="{1CE0BD40-89A8-4A1F-9F41-6C8E89AB2FBB}" dt="2019-06-14T18:36:30.526" v="1036" actId="1037"/>
          <ac:spMkLst>
            <pc:docMk/>
            <pc:sldMk cId="3760727422" sldId="260"/>
            <ac:spMk id="51" creationId="{532F6E06-81F9-45E5-BCA6-3A9C2E1C2073}"/>
          </ac:spMkLst>
        </pc:spChg>
        <pc:spChg chg="add mod">
          <ac:chgData name="William Hunter" userId="fe35ec8f832bb40a" providerId="LiveId" clId="{1CE0BD40-89A8-4A1F-9F41-6C8E89AB2FBB}" dt="2019-06-14T21:44:30.186" v="3931" actId="20577"/>
          <ac:spMkLst>
            <pc:docMk/>
            <pc:sldMk cId="3760727422" sldId="260"/>
            <ac:spMk id="52" creationId="{5BEECCD7-8EAF-4DD9-9C03-8FB2B2BB8BC4}"/>
          </ac:spMkLst>
        </pc:spChg>
        <pc:spChg chg="add mod">
          <ac:chgData name="William Hunter" userId="fe35ec8f832bb40a" providerId="LiveId" clId="{1CE0BD40-89A8-4A1F-9F41-6C8E89AB2FBB}" dt="2019-06-14T21:44:32.687" v="3933" actId="20577"/>
          <ac:spMkLst>
            <pc:docMk/>
            <pc:sldMk cId="3760727422" sldId="260"/>
            <ac:spMk id="53" creationId="{19769527-C203-4561-B18D-9D7B5434E594}"/>
          </ac:spMkLst>
        </pc:spChg>
        <pc:spChg chg="add mod">
          <ac:chgData name="William Hunter" userId="fe35ec8f832bb40a" providerId="LiveId" clId="{1CE0BD40-89A8-4A1F-9F41-6C8E89AB2FBB}" dt="2019-06-14T21:44:45.408" v="3951" actId="20577"/>
          <ac:spMkLst>
            <pc:docMk/>
            <pc:sldMk cId="3760727422" sldId="260"/>
            <ac:spMk id="54" creationId="{D49E5F34-A63E-4187-9E96-2D2B6D4A3CA2}"/>
          </ac:spMkLst>
        </pc:spChg>
        <pc:picChg chg="add mod">
          <ac:chgData name="William Hunter" userId="fe35ec8f832bb40a" providerId="LiveId" clId="{1CE0BD40-89A8-4A1F-9F41-6C8E89AB2FBB}" dt="2019-06-14T18:31:33.468" v="777" actId="1076"/>
          <ac:picMkLst>
            <pc:docMk/>
            <pc:sldMk cId="3760727422" sldId="260"/>
            <ac:picMk id="7" creationId="{A44575F7-A50E-4031-8F01-9F71F8568541}"/>
          </ac:picMkLst>
        </pc:picChg>
        <pc:picChg chg="add mod">
          <ac:chgData name="William Hunter" userId="fe35ec8f832bb40a" providerId="LiveId" clId="{1CE0BD40-89A8-4A1F-9F41-6C8E89AB2FBB}" dt="2019-06-14T18:44:17.657" v="1115" actId="1038"/>
          <ac:picMkLst>
            <pc:docMk/>
            <pc:sldMk cId="3760727422" sldId="260"/>
            <ac:picMk id="37" creationId="{97DAE872-F231-4EBA-A26E-8C8CFA79B1FD}"/>
          </ac:picMkLst>
        </pc:picChg>
        <pc:picChg chg="del">
          <ac:chgData name="William Hunter" userId="fe35ec8f832bb40a" providerId="LiveId" clId="{1CE0BD40-89A8-4A1F-9F41-6C8E89AB2FBB}" dt="2019-06-14T18:17:04.192" v="437" actId="478"/>
          <ac:picMkLst>
            <pc:docMk/>
            <pc:sldMk cId="3760727422" sldId="260"/>
            <ac:picMk id="40" creationId="{45395CED-E728-4EAC-9C76-602891650355}"/>
          </ac:picMkLst>
        </pc:picChg>
        <pc:picChg chg="add mod">
          <ac:chgData name="William Hunter" userId="fe35ec8f832bb40a" providerId="LiveId" clId="{1CE0BD40-89A8-4A1F-9F41-6C8E89AB2FBB}" dt="2019-06-14T18:31:33.468" v="777" actId="1076"/>
          <ac:picMkLst>
            <pc:docMk/>
            <pc:sldMk cId="3760727422" sldId="260"/>
            <ac:picMk id="43" creationId="{EE7B47E1-8AAF-4681-B6A1-1CDD837B9F76}"/>
          </ac:picMkLst>
        </pc:picChg>
        <pc:picChg chg="del">
          <ac:chgData name="William Hunter" userId="fe35ec8f832bb40a" providerId="LiveId" clId="{1CE0BD40-89A8-4A1F-9F41-6C8E89AB2FBB}" dt="2019-06-14T18:16:58.360" v="431" actId="478"/>
          <ac:picMkLst>
            <pc:docMk/>
            <pc:sldMk cId="3760727422" sldId="260"/>
            <ac:picMk id="44" creationId="{9BA82E3A-0B43-4B51-8444-DB0C4D44F10E}"/>
          </ac:picMkLst>
        </pc:picChg>
        <pc:picChg chg="del">
          <ac:chgData name="William Hunter" userId="fe35ec8f832bb40a" providerId="LiveId" clId="{1CE0BD40-89A8-4A1F-9F41-6C8E89AB2FBB}" dt="2019-06-14T18:17:00.120" v="433" actId="478"/>
          <ac:picMkLst>
            <pc:docMk/>
            <pc:sldMk cId="3760727422" sldId="260"/>
            <ac:picMk id="46" creationId="{1004E45A-8D27-4C11-8F71-5485202FE490}"/>
          </ac:picMkLst>
        </pc:picChg>
        <pc:picChg chg="add mod">
          <ac:chgData name="William Hunter" userId="fe35ec8f832bb40a" providerId="LiveId" clId="{1CE0BD40-89A8-4A1F-9F41-6C8E89AB2FBB}" dt="2019-06-14T18:34:28.503" v="912" actId="1076"/>
          <ac:picMkLst>
            <pc:docMk/>
            <pc:sldMk cId="3760727422" sldId="260"/>
            <ac:picMk id="50" creationId="{A49C0871-A1EC-4B4E-A1EE-91B33001AC1E}"/>
          </ac:picMkLst>
        </pc:picChg>
      </pc:sldChg>
      <pc:sldChg chg="del">
        <pc:chgData name="William Hunter" userId="fe35ec8f832bb40a" providerId="LiveId" clId="{1CE0BD40-89A8-4A1F-9F41-6C8E89AB2FBB}" dt="2019-06-14T16:38:40.416" v="2" actId="2696"/>
        <pc:sldMkLst>
          <pc:docMk/>
          <pc:sldMk cId="34028261" sldId="261"/>
        </pc:sldMkLst>
      </pc:sldChg>
      <pc:sldChg chg="modSp add del">
        <pc:chgData name="William Hunter" userId="fe35ec8f832bb40a" providerId="LiveId" clId="{1CE0BD40-89A8-4A1F-9F41-6C8E89AB2FBB}" dt="2019-06-14T18:43:49.945" v="1105" actId="2696"/>
        <pc:sldMkLst>
          <pc:docMk/>
          <pc:sldMk cId="1332928737" sldId="261"/>
        </pc:sldMkLst>
        <pc:spChg chg="mod">
          <ac:chgData name="William Hunter" userId="fe35ec8f832bb40a" providerId="LiveId" clId="{1CE0BD40-89A8-4A1F-9F41-6C8E89AB2FBB}" dt="2019-06-14T18:17:29.406" v="444" actId="1076"/>
          <ac:spMkLst>
            <pc:docMk/>
            <pc:sldMk cId="1332928737" sldId="261"/>
            <ac:spMk id="10" creationId="{A5DD00E6-5D64-4E46-BCE8-33F57976F8C2}"/>
          </ac:spMkLst>
        </pc:spChg>
      </pc:sldChg>
      <pc:sldChg chg="addSp delSp modSp add ord">
        <pc:chgData name="William Hunter" userId="fe35ec8f832bb40a" providerId="LiveId" clId="{1CE0BD40-89A8-4A1F-9F41-6C8E89AB2FBB}" dt="2019-06-14T21:51:12.069" v="4058"/>
        <pc:sldMkLst>
          <pc:docMk/>
          <pc:sldMk cId="3046290048" sldId="261"/>
        </pc:sldMkLst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" creationId="{C978FDC4-7A22-4C71-B6AB-AA733DE25FB5}"/>
          </ac:spMkLst>
        </pc:spChg>
        <pc:spChg chg="mod">
          <ac:chgData name="William Hunter" userId="fe35ec8f832bb40a" providerId="LiveId" clId="{1CE0BD40-89A8-4A1F-9F41-6C8E89AB2FBB}" dt="2019-06-14T19:09:35.453" v="1140" actId="20577"/>
          <ac:spMkLst>
            <pc:docMk/>
            <pc:sldMk cId="3046290048" sldId="261"/>
            <ac:spMk id="6" creationId="{00000000-0000-0000-0000-000000000000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8" creationId="{9546AE66-BDDF-4C84-A5C4-DD38B22E179B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9" creationId="{DFCFF86C-9CC6-41D8-B1C7-B6C5C8C45675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10" creationId="{D1BCECDE-7806-41B5-B30C-8344259DD9B7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13" creationId="{137943DC-EE1D-4EF5-80F5-25804F99F6F4}"/>
          </ac:spMkLst>
        </pc:spChg>
        <pc:spChg chg="add mod">
          <ac:chgData name="William Hunter" userId="fe35ec8f832bb40a" providerId="LiveId" clId="{1CE0BD40-89A8-4A1F-9F41-6C8E89AB2FBB}" dt="2019-06-14T20:39:47.392" v="1743" actId="207"/>
          <ac:spMkLst>
            <pc:docMk/>
            <pc:sldMk cId="3046290048" sldId="261"/>
            <ac:spMk id="30" creationId="{D7DDFAB1-270C-47A1-A5ED-3CA321EE66EB}"/>
          </ac:spMkLst>
        </pc:spChg>
        <pc:spChg chg="add mod">
          <ac:chgData name="William Hunter" userId="fe35ec8f832bb40a" providerId="LiveId" clId="{1CE0BD40-89A8-4A1F-9F41-6C8E89AB2FBB}" dt="2019-06-14T20:39:45.505" v="1742" actId="207"/>
          <ac:spMkLst>
            <pc:docMk/>
            <pc:sldMk cId="3046290048" sldId="261"/>
            <ac:spMk id="31" creationId="{573F3348-98AD-43BF-9A82-75F7873CF092}"/>
          </ac:spMkLst>
        </pc:spChg>
        <pc:spChg chg="add mod">
          <ac:chgData name="William Hunter" userId="fe35ec8f832bb40a" providerId="LiveId" clId="{1CE0BD40-89A8-4A1F-9F41-6C8E89AB2FBB}" dt="2019-06-14T20:39:42.978" v="1741" actId="207"/>
          <ac:spMkLst>
            <pc:docMk/>
            <pc:sldMk cId="3046290048" sldId="261"/>
            <ac:spMk id="32" creationId="{686BB467-BA4F-4D39-8446-0EBE223B8C3A}"/>
          </ac:spMkLst>
        </pc:spChg>
        <pc:spChg chg="add mod">
          <ac:chgData name="William Hunter" userId="fe35ec8f832bb40a" providerId="LiveId" clId="{1CE0BD40-89A8-4A1F-9F41-6C8E89AB2FBB}" dt="2019-06-14T19:13:31.556" v="1293" actId="207"/>
          <ac:spMkLst>
            <pc:docMk/>
            <pc:sldMk cId="3046290048" sldId="261"/>
            <ac:spMk id="33" creationId="{6431C94A-BAFA-44E2-8F59-BC8B2D3C142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4" creationId="{09D5ED09-5DD3-43D6-B109-B0A56A814B2B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5" creationId="{FBF26284-AFDE-4F17-9202-581E83C51075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6" creationId="{7741F30F-1EB9-4866-A556-A4F79975B19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8" creationId="{F9C667A1-B6A3-417C-AB1C-3D67A453BA4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39" creationId="{D439D7C7-D78F-4CE2-BEE2-7A28841CC200}"/>
          </ac:spMkLst>
        </pc:spChg>
        <pc:spChg chg="add mod">
          <ac:chgData name="William Hunter" userId="fe35ec8f832bb40a" providerId="LiveId" clId="{1CE0BD40-89A8-4A1F-9F41-6C8E89AB2FBB}" dt="2019-06-14T19:13:23.913" v="1292" actId="207"/>
          <ac:spMkLst>
            <pc:docMk/>
            <pc:sldMk cId="3046290048" sldId="261"/>
            <ac:spMk id="40" creationId="{6D7A5647-D3EE-40B2-B47A-362F27297A53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1" creationId="{839FD77E-2F70-424C-AB0B-BD98089B89A7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2" creationId="{0DC558C4-B843-4547-B985-B998B2F13B0E}"/>
          </ac:spMkLst>
        </pc:spChg>
        <pc:spChg chg="add mod">
          <ac:chgData name="William Hunter" userId="fe35ec8f832bb40a" providerId="LiveId" clId="{1CE0BD40-89A8-4A1F-9F41-6C8E89AB2FBB}" dt="2019-06-14T19:09:56.927" v="1224" actId="20577"/>
          <ac:spMkLst>
            <pc:docMk/>
            <pc:sldMk cId="3046290048" sldId="261"/>
            <ac:spMk id="44" creationId="{F091D0BD-E995-4871-A16E-2AE6A1443418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5" creationId="{58EA476C-97EB-4E66-8EE3-FF0F83E021A4}"/>
          </ac:spMkLst>
        </pc:spChg>
        <pc:spChg chg="add mod">
          <ac:chgData name="William Hunter" userId="fe35ec8f832bb40a" providerId="LiveId" clId="{1CE0BD40-89A8-4A1F-9F41-6C8E89AB2FBB}" dt="2019-06-14T19:06:19.571" v="1123" actId="1076"/>
          <ac:spMkLst>
            <pc:docMk/>
            <pc:sldMk cId="3046290048" sldId="261"/>
            <ac:spMk id="46" creationId="{0F9E8AE0-F9FA-405B-88C2-930B0FA79F62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7" creationId="{CB2BF2DA-6A72-4B14-A4BD-B0CEE8D9EC4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8" creationId="{A9A784DC-2C2F-41F2-8DCF-A2EFBD074317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49" creationId="{503F7C0A-F978-4D52-ADA7-88E9E294CBBA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1" creationId="{532F6E06-81F9-45E5-BCA6-3A9C2E1C2073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2" creationId="{5BEECCD7-8EAF-4DD9-9C03-8FB2B2BB8BC4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3" creationId="{19769527-C203-4561-B18D-9D7B5434E594}"/>
          </ac:spMkLst>
        </pc:spChg>
        <pc:spChg chg="del">
          <ac:chgData name="William Hunter" userId="fe35ec8f832bb40a" providerId="LiveId" clId="{1CE0BD40-89A8-4A1F-9F41-6C8E89AB2FBB}" dt="2019-06-14T19:06:13.598" v="1121" actId="478"/>
          <ac:spMkLst>
            <pc:docMk/>
            <pc:sldMk cId="3046290048" sldId="261"/>
            <ac:spMk id="54" creationId="{D49E5F34-A63E-4187-9E96-2D2B6D4A3CA2}"/>
          </ac:spMkLst>
        </pc:spChg>
        <pc:spChg chg="add mod">
          <ac:chgData name="William Hunter" userId="fe35ec8f832bb40a" providerId="LiveId" clId="{1CE0BD40-89A8-4A1F-9F41-6C8E89AB2FBB}" dt="2019-06-14T19:15:11.949" v="1371" actId="313"/>
          <ac:spMkLst>
            <pc:docMk/>
            <pc:sldMk cId="3046290048" sldId="261"/>
            <ac:spMk id="55" creationId="{D4322F64-E42F-486C-AD3E-5A82E3908875}"/>
          </ac:spMkLst>
        </pc:spChg>
        <pc:picChg chg="add mod modCrop">
          <ac:chgData name="William Hunter" userId="fe35ec8f832bb40a" providerId="LiveId" clId="{1CE0BD40-89A8-4A1F-9F41-6C8E89AB2FBB}" dt="2019-06-14T19:11:31.478" v="1234" actId="1076"/>
          <ac:picMkLst>
            <pc:docMk/>
            <pc:sldMk cId="3046290048" sldId="261"/>
            <ac:picMk id="3" creationId="{41FB02DF-67B5-4AFA-946E-49C6D2F8E3C6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7" creationId="{A44575F7-A50E-4031-8F01-9F71F8568541}"/>
          </ac:picMkLst>
        </pc:picChg>
        <pc:picChg chg="add mod modCrop">
          <ac:chgData name="William Hunter" userId="fe35ec8f832bb40a" providerId="LiveId" clId="{1CE0BD40-89A8-4A1F-9F41-6C8E89AB2FBB}" dt="2019-06-14T19:16:12.538" v="1381" actId="1076"/>
          <ac:picMkLst>
            <pc:docMk/>
            <pc:sldMk cId="3046290048" sldId="261"/>
            <ac:picMk id="14" creationId="{C489CBA9-8744-444F-B7A6-24C11744C6DE}"/>
          </ac:picMkLst>
        </pc:picChg>
        <pc:picChg chg="add mod modCrop">
          <ac:chgData name="William Hunter" userId="fe35ec8f832bb40a" providerId="LiveId" clId="{1CE0BD40-89A8-4A1F-9F41-6C8E89AB2FBB}" dt="2019-06-14T19:18:46.772" v="1393" actId="1076"/>
          <ac:picMkLst>
            <pc:docMk/>
            <pc:sldMk cId="3046290048" sldId="261"/>
            <ac:picMk id="16" creationId="{41E78445-569A-46A7-BA4F-C6DC9E8D43DF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37" creationId="{97DAE872-F231-4EBA-A26E-8C8CFA79B1FD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43" creationId="{EE7B47E1-8AAF-4681-B6A1-1CDD837B9F76}"/>
          </ac:picMkLst>
        </pc:picChg>
        <pc:picChg chg="del">
          <ac:chgData name="William Hunter" userId="fe35ec8f832bb40a" providerId="LiveId" clId="{1CE0BD40-89A8-4A1F-9F41-6C8E89AB2FBB}" dt="2019-06-14T19:06:13.598" v="1121" actId="478"/>
          <ac:picMkLst>
            <pc:docMk/>
            <pc:sldMk cId="3046290048" sldId="261"/>
            <ac:picMk id="50" creationId="{A49C0871-A1EC-4B4E-A1EE-91B33001AC1E}"/>
          </ac:picMkLst>
        </pc:picChg>
        <pc:picChg chg="add del mod">
          <ac:chgData name="William Hunter" userId="fe35ec8f832bb40a" providerId="LiveId" clId="{1CE0BD40-89A8-4A1F-9F41-6C8E89AB2FBB}" dt="2019-06-14T19:11:05.666" v="1225" actId="478"/>
          <ac:picMkLst>
            <pc:docMk/>
            <pc:sldMk cId="3046290048" sldId="261"/>
            <ac:picMk id="56" creationId="{CFA9A1CA-6C17-4F1C-8CCA-C33B1AEBEAE0}"/>
          </ac:picMkLst>
        </pc:picChg>
        <pc:picChg chg="add del mod">
          <ac:chgData name="William Hunter" userId="fe35ec8f832bb40a" providerId="LiveId" clId="{1CE0BD40-89A8-4A1F-9F41-6C8E89AB2FBB}" dt="2019-06-14T19:11:39.965" v="1235" actId="478"/>
          <ac:picMkLst>
            <pc:docMk/>
            <pc:sldMk cId="3046290048" sldId="261"/>
            <ac:picMk id="57" creationId="{61450F65-F8D5-457D-A044-ACE03CAC4100}"/>
          </ac:picMkLst>
        </pc:picChg>
        <pc:picChg chg="add del mod">
          <ac:chgData name="William Hunter" userId="fe35ec8f832bb40a" providerId="LiveId" clId="{1CE0BD40-89A8-4A1F-9F41-6C8E89AB2FBB}" dt="2019-06-14T19:15:29.316" v="1372" actId="478"/>
          <ac:picMkLst>
            <pc:docMk/>
            <pc:sldMk cId="3046290048" sldId="261"/>
            <ac:picMk id="58" creationId="{0390ACD6-9427-4A34-8F0B-F8A97ECF4C48}"/>
          </ac:picMkLst>
        </pc:picChg>
      </pc:sldChg>
      <pc:sldChg chg="addSp delSp modSp add">
        <pc:chgData name="William Hunter" userId="fe35ec8f832bb40a" providerId="LiveId" clId="{1CE0BD40-89A8-4A1F-9F41-6C8E89AB2FBB}" dt="2019-06-14T21:47:33.686" v="4048" actId="208"/>
        <pc:sldMkLst>
          <pc:docMk/>
          <pc:sldMk cId="822760015" sldId="262"/>
        </pc:sldMkLst>
        <pc:spChg chg="add mod">
          <ac:chgData name="William Hunter" userId="fe35ec8f832bb40a" providerId="LiveId" clId="{1CE0BD40-89A8-4A1F-9F41-6C8E89AB2FBB}" dt="2019-06-14T21:47:33.686" v="4048" actId="208"/>
          <ac:spMkLst>
            <pc:docMk/>
            <pc:sldMk cId="822760015" sldId="262"/>
            <ac:spMk id="2" creationId="{51BF6BDF-E250-474C-9BE7-BE4006AE170A}"/>
          </ac:spMkLst>
        </pc:spChg>
        <pc:spChg chg="add del mod">
          <ac:chgData name="William Hunter" userId="fe35ec8f832bb40a" providerId="LiveId" clId="{1CE0BD40-89A8-4A1F-9F41-6C8E89AB2FBB}" dt="2019-06-14T21:47:15.689" v="4047" actId="1076"/>
          <ac:spMkLst>
            <pc:docMk/>
            <pc:sldMk cId="822760015" sldId="262"/>
            <ac:spMk id="4" creationId="{5D9DCEEE-4D8B-4876-A418-F265CE94ED03}"/>
          </ac:spMkLst>
        </pc:spChg>
        <pc:spChg chg="mod">
          <ac:chgData name="William Hunter" userId="fe35ec8f832bb40a" providerId="LiveId" clId="{1CE0BD40-89A8-4A1F-9F41-6C8E89AB2FBB}" dt="2019-06-14T20:02:46.392" v="1430" actId="313"/>
          <ac:spMkLst>
            <pc:docMk/>
            <pc:sldMk cId="822760015" sldId="262"/>
            <ac:spMk id="6" creationId="{00000000-0000-0000-0000-000000000000}"/>
          </ac:spMkLst>
        </pc:spChg>
        <pc:spChg chg="del mod">
          <ac:chgData name="William Hunter" userId="fe35ec8f832bb40a" providerId="LiveId" clId="{1CE0BD40-89A8-4A1F-9F41-6C8E89AB2FBB}" dt="2019-06-14T21:34:56.803" v="3360" actId="478"/>
          <ac:spMkLst>
            <pc:docMk/>
            <pc:sldMk cId="822760015" sldId="262"/>
            <ac:spMk id="30" creationId="{D7DDFAB1-270C-47A1-A5ED-3CA321EE66EB}"/>
          </ac:spMkLst>
        </pc:spChg>
        <pc:spChg chg="del mod">
          <ac:chgData name="William Hunter" userId="fe35ec8f832bb40a" providerId="LiveId" clId="{1CE0BD40-89A8-4A1F-9F41-6C8E89AB2FBB}" dt="2019-06-14T21:34:55.515" v="3357" actId="478"/>
          <ac:spMkLst>
            <pc:docMk/>
            <pc:sldMk cId="822760015" sldId="262"/>
            <ac:spMk id="31" creationId="{573F3348-98AD-43BF-9A82-75F7873CF092}"/>
          </ac:spMkLst>
        </pc:spChg>
        <pc:spChg chg="del mod">
          <ac:chgData name="William Hunter" userId="fe35ec8f832bb40a" providerId="LiveId" clId="{1CE0BD40-89A8-4A1F-9F41-6C8E89AB2FBB}" dt="2019-06-14T21:34:54.254" v="3354" actId="478"/>
          <ac:spMkLst>
            <pc:docMk/>
            <pc:sldMk cId="822760015" sldId="262"/>
            <ac:spMk id="32" creationId="{686BB467-BA4F-4D39-8446-0EBE223B8C3A}"/>
          </ac:spMkLst>
        </pc:spChg>
        <pc:spChg chg="del mod">
          <ac:chgData name="William Hunter" userId="fe35ec8f832bb40a" providerId="LiveId" clId="{1CE0BD40-89A8-4A1F-9F41-6C8E89AB2FBB}" dt="2019-06-14T21:34:55.135" v="3356" actId="478"/>
          <ac:spMkLst>
            <pc:docMk/>
            <pc:sldMk cId="822760015" sldId="262"/>
            <ac:spMk id="33" creationId="{6431C94A-BAFA-44E2-8F59-BC8B2D3C142A}"/>
          </ac:spMkLst>
        </pc:spChg>
        <pc:spChg chg="del">
          <ac:chgData name="William Hunter" userId="fe35ec8f832bb40a" providerId="LiveId" clId="{1CE0BD40-89A8-4A1F-9F41-6C8E89AB2FBB}" dt="2019-06-14T21:34:53.650" v="3353" actId="478"/>
          <ac:spMkLst>
            <pc:docMk/>
            <pc:sldMk cId="822760015" sldId="262"/>
            <ac:spMk id="40" creationId="{6D7A5647-D3EE-40B2-B47A-362F27297A53}"/>
          </ac:spMkLst>
        </pc:spChg>
        <pc:spChg chg="del mod">
          <ac:chgData name="William Hunter" userId="fe35ec8f832bb40a" providerId="LiveId" clId="{1CE0BD40-89A8-4A1F-9F41-6C8E89AB2FBB}" dt="2019-06-14T21:34:53.147" v="3352" actId="478"/>
          <ac:spMkLst>
            <pc:docMk/>
            <pc:sldMk cId="822760015" sldId="262"/>
            <ac:spMk id="44" creationId="{F091D0BD-E995-4871-A16E-2AE6A1443418}"/>
          </ac:spMkLst>
        </pc:spChg>
        <pc:spChg chg="del mod">
          <ac:chgData name="William Hunter" userId="fe35ec8f832bb40a" providerId="LiveId" clId="{1CE0BD40-89A8-4A1F-9F41-6C8E89AB2FBB}" dt="2019-06-14T21:34:56.395" v="3359" actId="478"/>
          <ac:spMkLst>
            <pc:docMk/>
            <pc:sldMk cId="822760015" sldId="262"/>
            <ac:spMk id="55" creationId="{D4322F64-E42F-486C-AD3E-5A82E3908875}"/>
          </ac:spMkLst>
        </pc:spChg>
        <pc:picChg chg="del">
          <ac:chgData name="William Hunter" userId="fe35ec8f832bb40a" providerId="LiveId" clId="{1CE0BD40-89A8-4A1F-9F41-6C8E89AB2FBB}" dt="2019-06-14T21:34:52.054" v="3350" actId="478"/>
          <ac:picMkLst>
            <pc:docMk/>
            <pc:sldMk cId="822760015" sldId="262"/>
            <ac:picMk id="3" creationId="{41FB02DF-67B5-4AFA-946E-49C6D2F8E3C6}"/>
          </ac:picMkLst>
        </pc:picChg>
        <pc:picChg chg="del">
          <ac:chgData name="William Hunter" userId="fe35ec8f832bb40a" providerId="LiveId" clId="{1CE0BD40-89A8-4A1F-9F41-6C8E89AB2FBB}" dt="2019-06-14T21:34:57.680" v="3361" actId="478"/>
          <ac:picMkLst>
            <pc:docMk/>
            <pc:sldMk cId="822760015" sldId="262"/>
            <ac:picMk id="14" creationId="{C489CBA9-8744-444F-B7A6-24C11744C6DE}"/>
          </ac:picMkLst>
        </pc:picChg>
        <pc:picChg chg="del">
          <ac:chgData name="William Hunter" userId="fe35ec8f832bb40a" providerId="LiveId" clId="{1CE0BD40-89A8-4A1F-9F41-6C8E89AB2FBB}" dt="2019-06-14T21:34:57.959" v="3362" actId="478"/>
          <ac:picMkLst>
            <pc:docMk/>
            <pc:sldMk cId="822760015" sldId="262"/>
            <ac:picMk id="16" creationId="{41E78445-569A-46A7-BA4F-C6DC9E8D43DF}"/>
          </ac:picMkLst>
        </pc:picChg>
        <pc:picChg chg="add mod">
          <ac:chgData name="William Hunter" userId="fe35ec8f832bb40a" providerId="LiveId" clId="{1CE0BD40-89A8-4A1F-9F41-6C8E89AB2FBB}" dt="2019-06-14T21:47:03.081" v="4046" actId="1076"/>
          <ac:picMkLst>
            <pc:docMk/>
            <pc:sldMk cId="822760015" sldId="262"/>
            <ac:picMk id="17" creationId="{715CB639-3C8C-4380-9106-C82570F494CF}"/>
          </ac:picMkLst>
        </pc:picChg>
        <pc:picChg chg="add mod">
          <ac:chgData name="William Hunter" userId="fe35ec8f832bb40a" providerId="LiveId" clId="{1CE0BD40-89A8-4A1F-9F41-6C8E89AB2FBB}" dt="2019-06-14T21:38:23.570" v="3421" actId="1036"/>
          <ac:picMkLst>
            <pc:docMk/>
            <pc:sldMk cId="822760015" sldId="262"/>
            <ac:picMk id="18" creationId="{2BF4224A-E5B9-4448-907E-626BD703DA43}"/>
          </ac:picMkLst>
        </pc:picChg>
      </pc:sldChg>
      <pc:sldChg chg="add del">
        <pc:chgData name="William Hunter" userId="fe35ec8f832bb40a" providerId="LiveId" clId="{1CE0BD40-89A8-4A1F-9F41-6C8E89AB2FBB}" dt="2019-06-14T19:18:16.124" v="1383" actId="2696"/>
        <pc:sldMkLst>
          <pc:docMk/>
          <pc:sldMk cId="1841146121" sldId="262"/>
        </pc:sldMkLst>
      </pc:sldChg>
      <pc:sldChg chg="addSp delSp modSp add">
        <pc:chgData name="William Hunter" userId="fe35ec8f832bb40a" providerId="LiveId" clId="{1CE0BD40-89A8-4A1F-9F41-6C8E89AB2FBB}" dt="2019-06-14T21:28:42.336" v="3337" actId="1035"/>
        <pc:sldMkLst>
          <pc:docMk/>
          <pc:sldMk cId="591932118" sldId="263"/>
        </pc:sldMkLst>
        <pc:spChg chg="mod">
          <ac:chgData name="William Hunter" userId="fe35ec8f832bb40a" providerId="LiveId" clId="{1CE0BD40-89A8-4A1F-9F41-6C8E89AB2FBB}" dt="2019-06-14T20:03:47.774" v="1461" actId="20577"/>
          <ac:spMkLst>
            <pc:docMk/>
            <pc:sldMk cId="591932118" sldId="263"/>
            <ac:spMk id="6" creationId="{00000000-0000-0000-0000-000000000000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17" creationId="{82170971-76ED-474E-8794-09E1FBED93A1}"/>
          </ac:spMkLst>
        </pc:spChg>
        <pc:spChg chg="add del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18" creationId="{0FFD7AD8-63DE-40DF-A5BD-DF1C980D027D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19" creationId="{ED00B35C-BB68-4E8B-9B4D-36AC049279BD}"/>
          </ac:spMkLst>
        </pc:spChg>
        <pc:spChg chg="add del">
          <ac:chgData name="William Hunter" userId="fe35ec8f832bb40a" providerId="LiveId" clId="{1CE0BD40-89A8-4A1F-9F41-6C8E89AB2FBB}" dt="2019-06-14T21:24:47.014" v="3281" actId="478"/>
          <ac:spMkLst>
            <pc:docMk/>
            <pc:sldMk cId="591932118" sldId="263"/>
            <ac:spMk id="20" creationId="{A1ABB466-A57D-4EBE-A523-838F85167A88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1" creationId="{DDDCF21F-F08C-4460-A4D7-28627D595494}"/>
          </ac:spMkLst>
        </pc:spChg>
        <pc:spChg chg="mod">
          <ac:chgData name="William Hunter" userId="fe35ec8f832bb40a" providerId="LiveId" clId="{1CE0BD40-89A8-4A1F-9F41-6C8E89AB2FBB}" dt="2019-06-14T20:04:00.938" v="1519" actId="313"/>
          <ac:spMkLst>
            <pc:docMk/>
            <pc:sldMk cId="591932118" sldId="263"/>
            <ac:spMk id="22" creationId="{00000000-0000-0000-0000-000000000000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3" creationId="{D316A2A0-5CA5-413E-9A79-3794B2BC32EE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4" creationId="{8107F08A-1F6E-4BD8-8213-AC629C21F3DA}"/>
          </ac:spMkLst>
        </pc:spChg>
        <pc:spChg chg="add del">
          <ac:chgData name="William Hunter" userId="fe35ec8f832bb40a" providerId="LiveId" clId="{1CE0BD40-89A8-4A1F-9F41-6C8E89AB2FBB}" dt="2019-06-14T21:26:22.134" v="3289" actId="478"/>
          <ac:spMkLst>
            <pc:docMk/>
            <pc:sldMk cId="591932118" sldId="263"/>
            <ac:spMk id="25" creationId="{19123193-A463-4ED6-B0E9-E86F64486536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6" creationId="{62127776-9F93-498C-9D77-CF8030E6CCBF}"/>
          </ac:spMkLst>
        </pc:spChg>
        <pc:spChg chg="add del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7" creationId="{CCCEA725-911A-4791-8F7E-0CBD3B9EB03F}"/>
          </ac:spMkLst>
        </pc:spChg>
        <pc:spChg chg="add mod">
          <ac:chgData name="William Hunter" userId="fe35ec8f832bb40a" providerId="LiveId" clId="{1CE0BD40-89A8-4A1F-9F41-6C8E89AB2FBB}" dt="2019-06-14T21:28:42.336" v="3337" actId="1035"/>
          <ac:spMkLst>
            <pc:docMk/>
            <pc:sldMk cId="591932118" sldId="263"/>
            <ac:spMk id="28" creationId="{2C050810-6727-4850-8687-1561F1C7F904}"/>
          </ac:spMkLst>
        </pc:spChg>
        <pc:spChg chg="add del mod">
          <ac:chgData name="William Hunter" userId="fe35ec8f832bb40a" providerId="LiveId" clId="{1CE0BD40-89A8-4A1F-9F41-6C8E89AB2FBB}" dt="2019-06-14T21:28:04.482" v="3309" actId="478"/>
          <ac:spMkLst>
            <pc:docMk/>
            <pc:sldMk cId="591932118" sldId="263"/>
            <ac:spMk id="29" creationId="{7B656AD3-45DD-4863-A34F-62094A27B4D7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30" creationId="{D7DDFAB1-270C-47A1-A5ED-3CA321EE66EB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31" creationId="{573F3348-98AD-43BF-9A82-75F7873CF092}"/>
          </ac:spMkLst>
        </pc:spChg>
        <pc:spChg chg="del">
          <ac:chgData name="William Hunter" userId="fe35ec8f832bb40a" providerId="LiveId" clId="{1CE0BD40-89A8-4A1F-9F41-6C8E89AB2FBB}" dt="2019-06-14T21:14:51.445" v="2413" actId="478"/>
          <ac:spMkLst>
            <pc:docMk/>
            <pc:sldMk cId="591932118" sldId="263"/>
            <ac:spMk id="32" creationId="{686BB467-BA4F-4D39-8446-0EBE223B8C3A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33" creationId="{6431C94A-BAFA-44E2-8F59-BC8B2D3C142A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40" creationId="{6D7A5647-D3EE-40B2-B47A-362F27297A53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44" creationId="{F091D0BD-E995-4871-A16E-2AE6A1443418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46" creationId="{0F9E8AE0-F9FA-405B-88C2-930B0FA79F62}"/>
          </ac:spMkLst>
        </pc:spChg>
        <pc:spChg chg="del">
          <ac:chgData name="William Hunter" userId="fe35ec8f832bb40a" providerId="LiveId" clId="{1CE0BD40-89A8-4A1F-9F41-6C8E89AB2FBB}" dt="2019-06-14T21:14:51.004" v="2412" actId="478"/>
          <ac:spMkLst>
            <pc:docMk/>
            <pc:sldMk cId="591932118" sldId="263"/>
            <ac:spMk id="55" creationId="{D4322F64-E42F-486C-AD3E-5A82E3908875}"/>
          </ac:spMkLst>
        </pc:spChg>
        <pc:picChg chg="del">
          <ac:chgData name="William Hunter" userId="fe35ec8f832bb40a" providerId="LiveId" clId="{1CE0BD40-89A8-4A1F-9F41-6C8E89AB2FBB}" dt="2019-06-14T21:14:51.004" v="2412" actId="478"/>
          <ac:picMkLst>
            <pc:docMk/>
            <pc:sldMk cId="591932118" sldId="263"/>
            <ac:picMk id="3" creationId="{41FB02DF-67B5-4AFA-946E-49C6D2F8E3C6}"/>
          </ac:picMkLst>
        </pc:picChg>
        <pc:picChg chg="add mod">
          <ac:chgData name="William Hunter" userId="fe35ec8f832bb40a" providerId="LiveId" clId="{1CE0BD40-89A8-4A1F-9F41-6C8E89AB2FBB}" dt="2019-06-14T21:28:42.336" v="3337" actId="1035"/>
          <ac:picMkLst>
            <pc:docMk/>
            <pc:sldMk cId="591932118" sldId="263"/>
            <ac:picMk id="4" creationId="{9183E8C4-0A9C-4FD1-A449-564D0436B9E6}"/>
          </ac:picMkLst>
        </pc:picChg>
        <pc:picChg chg="add mod">
          <ac:chgData name="William Hunter" userId="fe35ec8f832bb40a" providerId="LiveId" clId="{1CE0BD40-89A8-4A1F-9F41-6C8E89AB2FBB}" dt="2019-06-14T21:28:42.336" v="3337" actId="1035"/>
          <ac:picMkLst>
            <pc:docMk/>
            <pc:sldMk cId="591932118" sldId="263"/>
            <ac:picMk id="7" creationId="{E0862061-A165-4156-A9A5-CE36814813C0}"/>
          </ac:picMkLst>
        </pc:picChg>
        <pc:picChg chg="add del mod">
          <ac:chgData name="William Hunter" userId="fe35ec8f832bb40a" providerId="LiveId" clId="{1CE0BD40-89A8-4A1F-9F41-6C8E89AB2FBB}" dt="2019-06-14T21:28:02.347" v="3307"/>
          <ac:picMkLst>
            <pc:docMk/>
            <pc:sldMk cId="591932118" sldId="263"/>
            <ac:picMk id="9" creationId="{F0E2909B-A8D9-43D0-B8BF-220978277907}"/>
          </ac:picMkLst>
        </pc:picChg>
        <pc:picChg chg="add mod">
          <ac:chgData name="William Hunter" userId="fe35ec8f832bb40a" providerId="LiveId" clId="{1CE0BD40-89A8-4A1F-9F41-6C8E89AB2FBB}" dt="2019-06-14T21:28:42.336" v="3337" actId="1035"/>
          <ac:picMkLst>
            <pc:docMk/>
            <pc:sldMk cId="591932118" sldId="263"/>
            <ac:picMk id="13" creationId="{73AA7200-E629-4A1A-B685-074D2E78C907}"/>
          </ac:picMkLst>
        </pc:picChg>
        <pc:picChg chg="del">
          <ac:chgData name="William Hunter" userId="fe35ec8f832bb40a" providerId="LiveId" clId="{1CE0BD40-89A8-4A1F-9F41-6C8E89AB2FBB}" dt="2019-06-14T21:14:51.004" v="2412" actId="478"/>
          <ac:picMkLst>
            <pc:docMk/>
            <pc:sldMk cId="591932118" sldId="263"/>
            <ac:picMk id="14" creationId="{C489CBA9-8744-444F-B7A6-24C11744C6DE}"/>
          </ac:picMkLst>
        </pc:picChg>
        <pc:picChg chg="del">
          <ac:chgData name="William Hunter" userId="fe35ec8f832bb40a" providerId="LiveId" clId="{1CE0BD40-89A8-4A1F-9F41-6C8E89AB2FBB}" dt="2019-06-14T21:14:51.004" v="2412" actId="478"/>
          <ac:picMkLst>
            <pc:docMk/>
            <pc:sldMk cId="591932118" sldId="263"/>
            <ac:picMk id="16" creationId="{41E78445-569A-46A7-BA4F-C6DC9E8D43DF}"/>
          </ac:picMkLst>
        </pc:picChg>
      </pc:sldChg>
      <pc:sldChg chg="add del">
        <pc:chgData name="William Hunter" userId="fe35ec8f832bb40a" providerId="LiveId" clId="{1CE0BD40-89A8-4A1F-9F41-6C8E89AB2FBB}" dt="2019-06-14T19:18:18.329" v="1384" actId="2696"/>
        <pc:sldMkLst>
          <pc:docMk/>
          <pc:sldMk cId="1606609231" sldId="263"/>
        </pc:sldMkLst>
      </pc:sldChg>
      <pc:sldChg chg="addSp delSp modSp add">
        <pc:chgData name="William Hunter" userId="fe35ec8f832bb40a" providerId="LiveId" clId="{1CE0BD40-89A8-4A1F-9F41-6C8E89AB2FBB}" dt="2019-06-14T21:50:44.104" v="4057" actId="1076"/>
        <pc:sldMkLst>
          <pc:docMk/>
          <pc:sldMk cId="2304756975" sldId="264"/>
        </pc:sldMkLst>
        <pc:spChg chg="mod">
          <ac:chgData name="William Hunter" userId="fe35ec8f832bb40a" providerId="LiveId" clId="{1CE0BD40-89A8-4A1F-9F41-6C8E89AB2FBB}" dt="2019-06-14T20:04:31.630" v="1541" actId="20577"/>
          <ac:spMkLst>
            <pc:docMk/>
            <pc:sldMk cId="2304756975" sldId="264"/>
            <ac:spMk id="6" creationId="{00000000-0000-0000-0000-000000000000}"/>
          </ac:spMkLst>
        </pc:spChg>
        <pc:spChg chg="mod">
          <ac:chgData name="William Hunter" userId="fe35ec8f832bb40a" providerId="LiveId" clId="{1CE0BD40-89A8-4A1F-9F41-6C8E89AB2FBB}" dt="2019-06-14T21:49:38.642" v="4050" actId="207"/>
          <ac:spMkLst>
            <pc:docMk/>
            <pc:sldMk cId="2304756975" sldId="264"/>
            <ac:spMk id="18" creationId="{D247FC34-7D20-4ACA-8E8B-0382BC1890C5}"/>
          </ac:spMkLst>
        </pc:spChg>
        <pc:spChg chg="mod">
          <ac:chgData name="William Hunter" userId="fe35ec8f832bb40a" providerId="LiveId" clId="{1CE0BD40-89A8-4A1F-9F41-6C8E89AB2FBB}" dt="2019-06-14T20:30:00.484" v="1634" actId="207"/>
          <ac:spMkLst>
            <pc:docMk/>
            <pc:sldMk cId="2304756975" sldId="264"/>
            <ac:spMk id="19" creationId="{77A0BADF-5D12-4FAA-A42E-E9D7029F6C62}"/>
          </ac:spMkLst>
        </pc:spChg>
        <pc:spChg chg="mod">
          <ac:chgData name="William Hunter" userId="fe35ec8f832bb40a" providerId="LiveId" clId="{1CE0BD40-89A8-4A1F-9F41-6C8E89AB2FBB}" dt="2019-06-14T20:38:01.827" v="1728" actId="207"/>
          <ac:spMkLst>
            <pc:docMk/>
            <pc:sldMk cId="2304756975" sldId="264"/>
            <ac:spMk id="21" creationId="{5C4EE248-00C7-4341-A2EE-3F7849F3DA7A}"/>
          </ac:spMkLst>
        </pc:spChg>
        <pc:spChg chg="mod">
          <ac:chgData name="William Hunter" userId="fe35ec8f832bb40a" providerId="LiveId" clId="{1CE0BD40-89A8-4A1F-9F41-6C8E89AB2FBB}" dt="2019-06-14T20:07:53.216" v="1597" actId="313"/>
          <ac:spMkLst>
            <pc:docMk/>
            <pc:sldMk cId="2304756975" sldId="264"/>
            <ac:spMk id="22" creationId="{00000000-0000-0000-0000-000000000000}"/>
          </ac:spMkLst>
        </pc:spChg>
        <pc:spChg chg="mod">
          <ac:chgData name="William Hunter" userId="fe35ec8f832bb40a" providerId="LiveId" clId="{1CE0BD40-89A8-4A1F-9F41-6C8E89AB2FBB}" dt="2019-06-14T20:29:57.090" v="1633" actId="207"/>
          <ac:spMkLst>
            <pc:docMk/>
            <pc:sldMk cId="2304756975" sldId="264"/>
            <ac:spMk id="23" creationId="{AEC54D6A-FDD7-4698-BBA2-BDDA20E98F54}"/>
          </ac:spMkLst>
        </pc:spChg>
        <pc:spChg chg="mod">
          <ac:chgData name="William Hunter" userId="fe35ec8f832bb40a" providerId="LiveId" clId="{1CE0BD40-89A8-4A1F-9F41-6C8E89AB2FBB}" dt="2019-06-14T20:29:52.984" v="1632" actId="207"/>
          <ac:spMkLst>
            <pc:docMk/>
            <pc:sldMk cId="2304756975" sldId="264"/>
            <ac:spMk id="26" creationId="{139D15FE-0D3E-48CE-B781-1AA6A2E50E43}"/>
          </ac:spMkLst>
        </pc:spChg>
        <pc:spChg chg="mod">
          <ac:chgData name="William Hunter" userId="fe35ec8f832bb40a" providerId="LiveId" clId="{1CE0BD40-89A8-4A1F-9F41-6C8E89AB2FBB}" dt="2019-06-14T20:29:38.359" v="1631" actId="207"/>
          <ac:spMkLst>
            <pc:docMk/>
            <pc:sldMk cId="2304756975" sldId="264"/>
            <ac:spMk id="29" creationId="{4992DC57-216B-4FD3-8BBC-4371DBEDDF02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0" creationId="{D7DDFAB1-270C-47A1-A5ED-3CA321EE66EB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1" creationId="{573F3348-98AD-43BF-9A82-75F7873CF092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2" creationId="{686BB467-BA4F-4D39-8446-0EBE223B8C3A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33" creationId="{6431C94A-BAFA-44E2-8F59-BC8B2D3C142A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34" creationId="{C11FE841-5E90-4B68-A0EA-81F25410C445}"/>
          </ac:spMkLst>
        </pc:spChg>
        <pc:spChg chg="add mod">
          <ac:chgData name="William Hunter" userId="fe35ec8f832bb40a" providerId="LiveId" clId="{1CE0BD40-89A8-4A1F-9F41-6C8E89AB2FBB}" dt="2019-06-14T20:52:46.366" v="1967" actId="20577"/>
          <ac:spMkLst>
            <pc:docMk/>
            <pc:sldMk cId="2304756975" sldId="264"/>
            <ac:spMk id="35" creationId="{3A64E1DB-A270-4EA0-83C8-239B209FA87B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36" creationId="{E33A3FA4-37E9-4AC9-A5CF-8943785B1FE4}"/>
          </ac:spMkLst>
        </pc:spChg>
        <pc:spChg chg="add mod">
          <ac:chgData name="William Hunter" userId="fe35ec8f832bb40a" providerId="LiveId" clId="{1CE0BD40-89A8-4A1F-9F41-6C8E89AB2FBB}" dt="2019-06-14T20:55:37.067" v="2088" actId="20577"/>
          <ac:spMkLst>
            <pc:docMk/>
            <pc:sldMk cId="2304756975" sldId="264"/>
            <ac:spMk id="37" creationId="{5C4E0133-B069-49FC-A163-3CB3E3CD012E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38" creationId="{BD2149F5-35DC-487A-AA91-3B4249ED9C73}"/>
          </ac:spMkLst>
        </pc:spChg>
        <pc:spChg chg="add mod">
          <ac:chgData name="William Hunter" userId="fe35ec8f832bb40a" providerId="LiveId" clId="{1CE0BD40-89A8-4A1F-9F41-6C8E89AB2FBB}" dt="2019-06-14T20:59:30.033" v="2247" actId="20577"/>
          <ac:spMkLst>
            <pc:docMk/>
            <pc:sldMk cId="2304756975" sldId="264"/>
            <ac:spMk id="39" creationId="{8F450760-7C7A-441B-A23F-510EF3505008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40" creationId="{6D7A5647-D3EE-40B2-B47A-362F27297A53}"/>
          </ac:spMkLst>
        </pc:spChg>
        <pc:spChg chg="add">
          <ac:chgData name="William Hunter" userId="fe35ec8f832bb40a" providerId="LiveId" clId="{1CE0BD40-89A8-4A1F-9F41-6C8E89AB2FBB}" dt="2019-06-14T20:28:37.637" v="1627"/>
          <ac:spMkLst>
            <pc:docMk/>
            <pc:sldMk cId="2304756975" sldId="264"/>
            <ac:spMk id="41" creationId="{0E84BB79-491B-4EC0-8EA6-2D05ECB6AA83}"/>
          </ac:spMkLst>
        </pc:spChg>
        <pc:spChg chg="add mod">
          <ac:chgData name="William Hunter" userId="fe35ec8f832bb40a" providerId="LiveId" clId="{1CE0BD40-89A8-4A1F-9F41-6C8E89AB2FBB}" dt="2019-06-14T21:03:04.267" v="2376" actId="20577"/>
          <ac:spMkLst>
            <pc:docMk/>
            <pc:sldMk cId="2304756975" sldId="264"/>
            <ac:spMk id="42" creationId="{68CC1944-6DDB-486B-A148-17C7D0973986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44" creationId="{F091D0BD-E995-4871-A16E-2AE6A1443418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46" creationId="{0F9E8AE0-F9FA-405B-88C2-930B0FA79F62}"/>
          </ac:spMkLst>
        </pc:spChg>
        <pc:spChg chg="add del">
          <ac:chgData name="William Hunter" userId="fe35ec8f832bb40a" providerId="LiveId" clId="{1CE0BD40-89A8-4A1F-9F41-6C8E89AB2FBB}" dt="2019-06-14T20:45:20.760" v="1750" actId="478"/>
          <ac:spMkLst>
            <pc:docMk/>
            <pc:sldMk cId="2304756975" sldId="264"/>
            <ac:spMk id="52" creationId="{873157AE-2A8E-47ED-8002-2C1C7B2A485C}"/>
          </ac:spMkLst>
        </pc:spChg>
        <pc:spChg chg="del">
          <ac:chgData name="William Hunter" userId="fe35ec8f832bb40a" providerId="LiveId" clId="{1CE0BD40-89A8-4A1F-9F41-6C8E89AB2FBB}" dt="2019-06-14T20:28:36.466" v="1626" actId="478"/>
          <ac:spMkLst>
            <pc:docMk/>
            <pc:sldMk cId="2304756975" sldId="264"/>
            <ac:spMk id="55" creationId="{D4322F64-E42F-486C-AD3E-5A82E3908875}"/>
          </ac:spMkLst>
        </pc:spChg>
        <pc:grpChg chg="add mod">
          <ac:chgData name="William Hunter" userId="fe35ec8f832bb40a" providerId="LiveId" clId="{1CE0BD40-89A8-4A1F-9F41-6C8E89AB2FBB}" dt="2019-06-14T20:34:14.089" v="1718" actId="207"/>
          <ac:grpSpMkLst>
            <pc:docMk/>
            <pc:sldMk cId="2304756975" sldId="264"/>
            <ac:grpSpMk id="17" creationId="{6FD2D0B6-260F-4184-B77F-D6F619FC3842}"/>
          </ac:grpSpMkLst>
        </pc:grpChg>
        <pc:grpChg chg="add">
          <ac:chgData name="William Hunter" userId="fe35ec8f832bb40a" providerId="LiveId" clId="{1CE0BD40-89A8-4A1F-9F41-6C8E89AB2FBB}" dt="2019-06-14T20:28:37.637" v="1627"/>
          <ac:grpSpMkLst>
            <pc:docMk/>
            <pc:sldMk cId="2304756975" sldId="264"/>
            <ac:grpSpMk id="20" creationId="{C40E4C2C-3646-4B64-824F-3E36C209D38C}"/>
          </ac:grpSpMkLst>
        </pc:grpChg>
        <pc:grpChg chg="add">
          <ac:chgData name="William Hunter" userId="fe35ec8f832bb40a" providerId="LiveId" clId="{1CE0BD40-89A8-4A1F-9F41-6C8E89AB2FBB}" dt="2019-06-14T20:28:37.637" v="1627"/>
          <ac:grpSpMkLst>
            <pc:docMk/>
            <pc:sldMk cId="2304756975" sldId="264"/>
            <ac:grpSpMk id="24" creationId="{C5801F6B-3A28-4EE1-8841-12B2A099D98E}"/>
          </ac:grpSpMkLst>
        </pc:grpChg>
        <pc:grpChg chg="add mod">
          <ac:chgData name="William Hunter" userId="fe35ec8f832bb40a" providerId="LiveId" clId="{1CE0BD40-89A8-4A1F-9F41-6C8E89AB2FBB}" dt="2019-06-14T20:28:52.341" v="1628" actId="207"/>
          <ac:grpSpMkLst>
            <pc:docMk/>
            <pc:sldMk cId="2304756975" sldId="264"/>
            <ac:grpSpMk id="27" creationId="{74505A5C-343D-475D-A9C2-D1E4B8F520DC}"/>
          </ac:grpSpMkLst>
        </pc:grpChg>
        <pc:grpChg chg="add del">
          <ac:chgData name="William Hunter" userId="fe35ec8f832bb40a" providerId="LiveId" clId="{1CE0BD40-89A8-4A1F-9F41-6C8E89AB2FBB}" dt="2019-06-14T20:48:54.568" v="1839" actId="478"/>
          <ac:grpSpMkLst>
            <pc:docMk/>
            <pc:sldMk cId="2304756975" sldId="264"/>
            <ac:grpSpMk id="43" creationId="{215339D4-0726-43A6-B805-D68773828C79}"/>
          </ac:grpSpMkLst>
        </pc:grpChg>
        <pc:grpChg chg="add del">
          <ac:chgData name="William Hunter" userId="fe35ec8f832bb40a" providerId="LiveId" clId="{1CE0BD40-89A8-4A1F-9F41-6C8E89AB2FBB}" dt="2019-06-14T20:35:22.638" v="1725" actId="478"/>
          <ac:grpSpMkLst>
            <pc:docMk/>
            <pc:sldMk cId="2304756975" sldId="264"/>
            <ac:grpSpMk id="48" creationId="{3860D7A3-F1F2-49D1-A0E0-296CC6C81949}"/>
          </ac:grpSpMkLst>
        </pc:grpChg>
        <pc:grpChg chg="add del">
          <ac:chgData name="William Hunter" userId="fe35ec8f832bb40a" providerId="LiveId" clId="{1CE0BD40-89A8-4A1F-9F41-6C8E89AB2FBB}" dt="2019-06-14T20:39:01.265" v="1731" actId="478"/>
          <ac:grpSpMkLst>
            <pc:docMk/>
            <pc:sldMk cId="2304756975" sldId="264"/>
            <ac:grpSpMk id="53" creationId="{01FE5CD5-76D2-4D02-B834-A67FED3D60F8}"/>
          </ac:grpSpMkLst>
        </pc:grpChg>
        <pc:picChg chg="del">
          <ac:chgData name="William Hunter" userId="fe35ec8f832bb40a" providerId="LiveId" clId="{1CE0BD40-89A8-4A1F-9F41-6C8E89AB2FBB}" dt="2019-06-14T20:28:36.466" v="1626" actId="478"/>
          <ac:picMkLst>
            <pc:docMk/>
            <pc:sldMk cId="2304756975" sldId="264"/>
            <ac:picMk id="3" creationId="{41FB02DF-67B5-4AFA-946E-49C6D2F8E3C6}"/>
          </ac:picMkLst>
        </pc:picChg>
        <pc:picChg chg="add del mod">
          <ac:chgData name="William Hunter" userId="fe35ec8f832bb40a" providerId="LiveId" clId="{1CE0BD40-89A8-4A1F-9F41-6C8E89AB2FBB}" dt="2019-06-14T21:50:31.091" v="4051" actId="478"/>
          <ac:picMkLst>
            <pc:docMk/>
            <pc:sldMk cId="2304756975" sldId="264"/>
            <ac:picMk id="4" creationId="{1AF9ECE7-50B1-4BB7-96BC-EED7606BDFA7}"/>
          </ac:picMkLst>
        </pc:picChg>
        <pc:picChg chg="add mod">
          <ac:chgData name="William Hunter" userId="fe35ec8f832bb40a" providerId="LiveId" clId="{1CE0BD40-89A8-4A1F-9F41-6C8E89AB2FBB}" dt="2019-06-14T20:39:10.569" v="1736" actId="1076"/>
          <ac:picMkLst>
            <pc:docMk/>
            <pc:sldMk cId="2304756975" sldId="264"/>
            <ac:picMk id="7" creationId="{6B44D1AD-E401-484D-871A-0C20AE62DDFC}"/>
          </ac:picMkLst>
        </pc:picChg>
        <pc:picChg chg="add del mod">
          <ac:chgData name="William Hunter" userId="fe35ec8f832bb40a" providerId="LiveId" clId="{1CE0BD40-89A8-4A1F-9F41-6C8E89AB2FBB}" dt="2019-06-14T20:45:44.885" v="1832"/>
          <ac:picMkLst>
            <pc:docMk/>
            <pc:sldMk cId="2304756975" sldId="264"/>
            <ac:picMk id="9" creationId="{8D4D0518-C079-4F16-988C-8A8258B973C5}"/>
          </ac:picMkLst>
        </pc:picChg>
        <pc:picChg chg="add mod">
          <ac:chgData name="William Hunter" userId="fe35ec8f832bb40a" providerId="LiveId" clId="{1CE0BD40-89A8-4A1F-9F41-6C8E89AB2FBB}" dt="2019-06-14T20:49:03.728" v="1842" actId="1076"/>
          <ac:picMkLst>
            <pc:docMk/>
            <pc:sldMk cId="2304756975" sldId="264"/>
            <ac:picMk id="13" creationId="{F0E088A0-A229-4E6B-AFB5-A87721F12D16}"/>
          </ac:picMkLst>
        </pc:picChg>
        <pc:picChg chg="del">
          <ac:chgData name="William Hunter" userId="fe35ec8f832bb40a" providerId="LiveId" clId="{1CE0BD40-89A8-4A1F-9F41-6C8E89AB2FBB}" dt="2019-06-14T20:28:36.466" v="1626" actId="478"/>
          <ac:picMkLst>
            <pc:docMk/>
            <pc:sldMk cId="2304756975" sldId="264"/>
            <ac:picMk id="14" creationId="{C489CBA9-8744-444F-B7A6-24C11744C6DE}"/>
          </ac:picMkLst>
        </pc:picChg>
        <pc:picChg chg="del">
          <ac:chgData name="William Hunter" userId="fe35ec8f832bb40a" providerId="LiveId" clId="{1CE0BD40-89A8-4A1F-9F41-6C8E89AB2FBB}" dt="2019-06-14T20:28:36.466" v="1626" actId="478"/>
          <ac:picMkLst>
            <pc:docMk/>
            <pc:sldMk cId="2304756975" sldId="264"/>
            <ac:picMk id="16" creationId="{41E78445-569A-46A7-BA4F-C6DC9E8D43DF}"/>
          </ac:picMkLst>
        </pc:picChg>
        <pc:picChg chg="add mod">
          <ac:chgData name="William Hunter" userId="fe35ec8f832bb40a" providerId="LiveId" clId="{1CE0BD40-89A8-4A1F-9F41-6C8E89AB2FBB}" dt="2019-06-14T20:51:43.721" v="1850" actId="1076"/>
          <ac:picMkLst>
            <pc:docMk/>
            <pc:sldMk cId="2304756975" sldId="264"/>
            <ac:picMk id="60" creationId="{0FDC3EF7-AE3B-411F-BF73-18435EE044A8}"/>
          </ac:picMkLst>
        </pc:picChg>
        <pc:picChg chg="add mod">
          <ac:chgData name="William Hunter" userId="fe35ec8f832bb40a" providerId="LiveId" clId="{1CE0BD40-89A8-4A1F-9F41-6C8E89AB2FBB}" dt="2019-06-14T21:50:44.104" v="4057" actId="1076"/>
          <ac:picMkLst>
            <pc:docMk/>
            <pc:sldMk cId="2304756975" sldId="264"/>
            <ac:picMk id="62" creationId="{87DF9155-FB77-44B9-871F-9156FCF49176}"/>
          </ac:picMkLst>
        </pc:picChg>
      </pc:sldChg>
      <pc:sldChg chg="addSp delSp modSp add del">
        <pc:chgData name="William Hunter" userId="fe35ec8f832bb40a" providerId="LiveId" clId="{1CE0BD40-89A8-4A1F-9F41-6C8E89AB2FBB}" dt="2019-06-14T21:43:38.202" v="3915" actId="2696"/>
        <pc:sldMkLst>
          <pc:docMk/>
          <pc:sldMk cId="1841146121" sldId="265"/>
        </pc:sldMkLst>
        <pc:picChg chg="add mod modCrop">
          <ac:chgData name="William Hunter" userId="fe35ec8f832bb40a" providerId="LiveId" clId="{1CE0BD40-89A8-4A1F-9F41-6C8E89AB2FBB}" dt="2019-06-14T21:30:51.141" v="3349" actId="732"/>
          <ac:picMkLst>
            <pc:docMk/>
            <pc:sldMk cId="1841146121" sldId="265"/>
            <ac:picMk id="4" creationId="{3C1FE44F-4207-467C-9AF2-FF4A6BEB94B2}"/>
          </ac:picMkLst>
        </pc:picChg>
        <pc:picChg chg="del">
          <ac:chgData name="William Hunter" userId="fe35ec8f832bb40a" providerId="LiveId" clId="{1CE0BD40-89A8-4A1F-9F41-6C8E89AB2FBB}" dt="2019-06-14T21:30:26.474" v="3343" actId="478"/>
          <ac:picMkLst>
            <pc:docMk/>
            <pc:sldMk cId="1841146121" sldId="265"/>
            <ac:picMk id="22" creationId="{0A04E39B-82CF-0E4C-BAB7-F80B0C7A1F56}"/>
          </ac:picMkLst>
        </pc:picChg>
      </pc:sldChg>
      <pc:sldChg chg="add del">
        <pc:chgData name="William Hunter" userId="fe35ec8f832bb40a" providerId="LiveId" clId="{1CE0BD40-89A8-4A1F-9F41-6C8E89AB2FBB}" dt="2019-06-14T21:43:38.218" v="3916" actId="2696"/>
        <pc:sldMkLst>
          <pc:docMk/>
          <pc:sldMk cId="2973072196" sldId="266"/>
        </pc:sldMkLst>
      </pc:sldChg>
      <pc:sldChg chg="add del">
        <pc:chgData name="William Hunter" userId="fe35ec8f832bb40a" providerId="LiveId" clId="{1CE0BD40-89A8-4A1F-9F41-6C8E89AB2FBB}" dt="2019-06-14T21:43:38.229" v="3917" actId="2696"/>
        <pc:sldMkLst>
          <pc:docMk/>
          <pc:sldMk cId="2406987104" sldId="267"/>
        </pc:sldMkLst>
      </pc:sldChg>
      <pc:sldChg chg="add del">
        <pc:chgData name="William Hunter" userId="fe35ec8f832bb40a" providerId="LiveId" clId="{1CE0BD40-89A8-4A1F-9F41-6C8E89AB2FBB}" dt="2019-06-14T21:43:38.257" v="3919" actId="2696"/>
        <pc:sldMkLst>
          <pc:docMk/>
          <pc:sldMk cId="659317518" sldId="268"/>
        </pc:sldMkLst>
      </pc:sldChg>
      <pc:sldChg chg="add del">
        <pc:chgData name="William Hunter" userId="fe35ec8f832bb40a" providerId="LiveId" clId="{1CE0BD40-89A8-4A1F-9F41-6C8E89AB2FBB}" dt="2019-06-14T20:24:04.583" v="1606" actId="2696"/>
        <pc:sldMkLst>
          <pc:docMk/>
          <pc:sldMk cId="3143510143" sldId="268"/>
        </pc:sldMkLst>
      </pc:sldChg>
      <pc:sldChg chg="modSp add del">
        <pc:chgData name="William Hunter" userId="fe35ec8f832bb40a" providerId="LiveId" clId="{1CE0BD40-89A8-4A1F-9F41-6C8E89AB2FBB}" dt="2019-06-14T20:24:55.593" v="1615" actId="2696"/>
        <pc:sldMkLst>
          <pc:docMk/>
          <pc:sldMk cId="107004701" sldId="269"/>
        </pc:sldMkLst>
        <pc:spChg chg="mod">
          <ac:chgData name="William Hunter" userId="fe35ec8f832bb40a" providerId="LiveId" clId="{1CE0BD40-89A8-4A1F-9F41-6C8E89AB2FBB}" dt="2019-06-14T20:24:52.507" v="1614" actId="1076"/>
          <ac:spMkLst>
            <pc:docMk/>
            <pc:sldMk cId="107004701" sldId="269"/>
            <ac:spMk id="6" creationId="{00000000-0000-0000-0000-000000000000}"/>
          </ac:spMkLst>
        </pc:spChg>
      </pc:sldChg>
      <pc:sldChg chg="add del">
        <pc:chgData name="William Hunter" userId="fe35ec8f832bb40a" providerId="LiveId" clId="{1CE0BD40-89A8-4A1F-9F41-6C8E89AB2FBB}" dt="2019-06-14T21:43:38.267" v="3921" actId="2696"/>
        <pc:sldMkLst>
          <pc:docMk/>
          <pc:sldMk cId="1406428127" sldId="269"/>
        </pc:sldMkLst>
      </pc:sldChg>
      <pc:sldChg chg="addSp delSp modSp add del">
        <pc:chgData name="William Hunter" userId="fe35ec8f832bb40a" providerId="LiveId" clId="{1CE0BD40-89A8-4A1F-9F41-6C8E89AB2FBB}" dt="2019-06-14T21:43:38.279" v="3923" actId="2696"/>
        <pc:sldMkLst>
          <pc:docMk/>
          <pc:sldMk cId="3754922128" sldId="270"/>
        </pc:sldMkLst>
        <pc:spChg chg="mod">
          <ac:chgData name="William Hunter" userId="fe35ec8f832bb40a" providerId="LiveId" clId="{1CE0BD40-89A8-4A1F-9F41-6C8E89AB2FBB}" dt="2019-06-14T21:06:53.516" v="2388" actId="1076"/>
          <ac:spMkLst>
            <pc:docMk/>
            <pc:sldMk cId="3754922128" sldId="270"/>
            <ac:spMk id="4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5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6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8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9" creationId="{00000000-0000-0000-0000-000000000000}"/>
          </ac:spMkLst>
        </pc:spChg>
        <pc:spChg chg="mod">
          <ac:chgData name="William Hunter" userId="fe35ec8f832bb40a" providerId="LiveId" clId="{1CE0BD40-89A8-4A1F-9F41-6C8E89AB2FBB}" dt="2019-06-14T21:06:46.951" v="2384" actId="6549"/>
          <ac:spMkLst>
            <pc:docMk/>
            <pc:sldMk cId="3754922128" sldId="270"/>
            <ac:spMk id="11" creationId="{00000000-0000-0000-0000-000000000000}"/>
          </ac:spMkLst>
        </pc:spChg>
        <pc:spChg chg="add del mod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12" creationId="{00000000-0000-0000-0000-000000000000}"/>
          </ac:spMkLst>
        </pc:spChg>
        <pc:spChg chg="add del mod">
          <ac:chgData name="William Hunter" userId="fe35ec8f832bb40a" providerId="LiveId" clId="{1CE0BD40-89A8-4A1F-9F41-6C8E89AB2FBB}" dt="2019-06-14T21:08:06.426" v="2411" actId="1036"/>
          <ac:spMkLst>
            <pc:docMk/>
            <pc:sldMk cId="3754922128" sldId="270"/>
            <ac:spMk id="13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14" creationId="{00000000-0000-0000-0000-000000000000}"/>
          </ac:spMkLst>
        </pc:spChg>
        <pc:spChg chg="add del">
          <ac:chgData name="William Hunter" userId="fe35ec8f832bb40a" providerId="LiveId" clId="{1CE0BD40-89A8-4A1F-9F41-6C8E89AB2FBB}" dt="2019-06-14T21:07:50.833" v="2405" actId="478"/>
          <ac:spMkLst>
            <pc:docMk/>
            <pc:sldMk cId="3754922128" sldId="270"/>
            <ac:spMk id="15" creationId="{00000000-0000-0000-0000-000000000000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17" creationId="{7B9399B8-86E7-4863-A7BE-7F298138E3E4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18" creationId="{50E077FE-8C75-445A-83CA-1B7F3772B57D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19" creationId="{1C42B17E-C0DE-448E-96E0-54C867D5D7E3}"/>
          </ac:spMkLst>
        </pc:spChg>
        <pc:spChg chg="add del mod">
          <ac:chgData name="William Hunter" userId="fe35ec8f832bb40a" providerId="LiveId" clId="{1CE0BD40-89A8-4A1F-9F41-6C8E89AB2FBB}" dt="2019-06-14T21:07:50.535" v="2404"/>
          <ac:spMkLst>
            <pc:docMk/>
            <pc:sldMk cId="3754922128" sldId="270"/>
            <ac:spMk id="20" creationId="{9A25F094-A028-43D6-81DC-F5993B68E97D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1" creationId="{A7B70CD1-9A09-465F-A30C-6B4A0500D43A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2" creationId="{622737F3-491B-4142-B2B5-8AE29F84CD7F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3" creationId="{4FA59F46-0243-40AB-AF0F-AAB9C875353C}"/>
          </ac:spMkLst>
        </pc:spChg>
        <pc:spChg chg="add mod">
          <ac:chgData name="William Hunter" userId="fe35ec8f832bb40a" providerId="LiveId" clId="{1CE0BD40-89A8-4A1F-9F41-6C8E89AB2FBB}" dt="2019-06-14T21:07:49.764" v="2402" actId="571"/>
          <ac:spMkLst>
            <pc:docMk/>
            <pc:sldMk cId="3754922128" sldId="270"/>
            <ac:spMk id="24" creationId="{3391A62F-DB15-4FDE-91CA-D3CBFDF2257C}"/>
          </ac:spMkLst>
        </pc:spChg>
      </pc:sldChg>
      <pc:sldChg chg="add del">
        <pc:chgData name="William Hunter" userId="fe35ec8f832bb40a" providerId="LiveId" clId="{1CE0BD40-89A8-4A1F-9F41-6C8E89AB2FBB}" dt="2019-06-14T21:43:38.302" v="3924" actId="2696"/>
        <pc:sldMkLst>
          <pc:docMk/>
          <pc:sldMk cId="519762708" sldId="271"/>
        </pc:sldMkLst>
      </pc:sldChg>
      <pc:sldChg chg="add del">
        <pc:chgData name="William Hunter" userId="fe35ec8f832bb40a" providerId="LiveId" clId="{1CE0BD40-89A8-4A1F-9F41-6C8E89AB2FBB}" dt="2019-06-14T21:43:38.317" v="3927" actId="2696"/>
        <pc:sldMkLst>
          <pc:docMk/>
          <pc:sldMk cId="64616428" sldId="272"/>
        </pc:sldMkLst>
      </pc:sldChg>
      <pc:sldMasterChg chg="add del addSldLayout delSldLayout">
        <pc:chgData name="William Hunter" userId="fe35ec8f832bb40a" providerId="LiveId" clId="{1CE0BD40-89A8-4A1F-9F41-6C8E89AB2FBB}" dt="2019-06-14T21:43:38.304" v="3926" actId="2696"/>
        <pc:sldMasterMkLst>
          <pc:docMk/>
          <pc:sldMasterMk cId="0" sldId="2147483648"/>
        </pc:sldMasterMkLst>
        <pc:sldLayoutChg chg="add del">
          <pc:chgData name="William Hunter" userId="fe35ec8f832bb40a" providerId="LiveId" clId="{1CE0BD40-89A8-4A1F-9F41-6C8E89AB2FBB}" dt="2019-06-14T20:24:04.584" v="1607" actId="2696"/>
          <pc:sldLayoutMkLst>
            <pc:docMk/>
            <pc:sldMasterMk cId="0" sldId="2147483648"/>
            <pc:sldLayoutMk cId="3630265670" sldId="2147483655"/>
          </pc:sldLayoutMkLst>
        </pc:sldLayoutChg>
        <pc:sldLayoutChg chg="add del">
          <pc:chgData name="William Hunter" userId="fe35ec8f832bb40a" providerId="LiveId" clId="{1CE0BD40-89A8-4A1F-9F41-6C8E89AB2FBB}" dt="2019-06-14T21:43:38.258" v="3920" actId="2696"/>
          <pc:sldLayoutMkLst>
            <pc:docMk/>
            <pc:sldMasterMk cId="0" sldId="2147483648"/>
            <pc:sldLayoutMk cId="2891095702" sldId="2147483658"/>
          </pc:sldLayoutMkLst>
        </pc:sldLayoutChg>
        <pc:sldLayoutChg chg="add del">
          <pc:chgData name="William Hunter" userId="fe35ec8f832bb40a" providerId="LiveId" clId="{1CE0BD40-89A8-4A1F-9F41-6C8E89AB2FBB}" dt="2019-06-14T20:24:55.594" v="1616" actId="2696"/>
          <pc:sldLayoutMkLst>
            <pc:docMk/>
            <pc:sldMasterMk cId="0" sldId="2147483648"/>
            <pc:sldLayoutMk cId="889365976" sldId="2147483661"/>
          </pc:sldLayoutMkLst>
        </pc:sldLayoutChg>
        <pc:sldLayoutChg chg="add del">
          <pc:chgData name="William Hunter" userId="fe35ec8f832bb40a" providerId="LiveId" clId="{1CE0BD40-89A8-4A1F-9F41-6C8E89AB2FBB}" dt="2019-06-14T21:43:38.268" v="3922" actId="2696"/>
          <pc:sldLayoutMkLst>
            <pc:docMk/>
            <pc:sldMasterMk cId="0" sldId="2147483648"/>
            <pc:sldLayoutMk cId="1225607867" sldId="2147483665"/>
          </pc:sldLayoutMkLst>
        </pc:sldLayoutChg>
        <pc:sldLayoutChg chg="add del">
          <pc:chgData name="William Hunter" userId="fe35ec8f832bb40a" providerId="LiveId" clId="{1CE0BD40-89A8-4A1F-9F41-6C8E89AB2FBB}" dt="2019-06-14T21:43:38.303" v="3925" actId="2696"/>
          <pc:sldLayoutMkLst>
            <pc:docMk/>
            <pc:sldMasterMk cId="0" sldId="2147483648"/>
            <pc:sldLayoutMk cId="4272429421" sldId="2147483675"/>
          </pc:sldLayoutMkLst>
        </pc:sldLayoutChg>
      </pc:sldMasterChg>
      <pc:sldMasterChg chg="del delSldLayout">
        <pc:chgData name="William Hunter" userId="fe35ec8f832bb40a" providerId="LiveId" clId="{1CE0BD40-89A8-4A1F-9F41-6C8E89AB2FBB}" dt="2019-06-14T16:38:41.607" v="17" actId="2696"/>
        <pc:sldMasterMkLst>
          <pc:docMk/>
          <pc:sldMasterMk cId="953781931" sldId="2147483705"/>
        </pc:sldMasterMkLst>
        <pc:sldLayoutChg chg="del">
          <pc:chgData name="William Hunter" userId="fe35ec8f832bb40a" providerId="LiveId" clId="{1CE0BD40-89A8-4A1F-9F41-6C8E89AB2FBB}" dt="2019-06-14T16:38:41.600" v="6" actId="2696"/>
          <pc:sldLayoutMkLst>
            <pc:docMk/>
            <pc:sldMasterMk cId="953781931" sldId="2147483705"/>
            <pc:sldLayoutMk cId="2434681810" sldId="2147483649"/>
          </pc:sldLayoutMkLst>
        </pc:sldLayoutChg>
        <pc:sldLayoutChg chg="del">
          <pc:chgData name="William Hunter" userId="fe35ec8f832bb40a" providerId="LiveId" clId="{1CE0BD40-89A8-4A1F-9F41-6C8E89AB2FBB}" dt="2019-06-14T16:38:41.601" v="8" actId="2696"/>
          <pc:sldLayoutMkLst>
            <pc:docMk/>
            <pc:sldMasterMk cId="953781931" sldId="2147483705"/>
            <pc:sldLayoutMk cId="604177412" sldId="2147483651"/>
          </pc:sldLayoutMkLst>
        </pc:sldLayoutChg>
        <pc:sldLayoutChg chg="del">
          <pc:chgData name="William Hunter" userId="fe35ec8f832bb40a" providerId="LiveId" clId="{1CE0BD40-89A8-4A1F-9F41-6C8E89AB2FBB}" dt="2019-06-14T16:38:41.602" v="9" actId="2696"/>
          <pc:sldLayoutMkLst>
            <pc:docMk/>
            <pc:sldMasterMk cId="953781931" sldId="2147483705"/>
            <pc:sldLayoutMk cId="590752027" sldId="2147483652"/>
          </pc:sldLayoutMkLst>
        </pc:sldLayoutChg>
        <pc:sldLayoutChg chg="del">
          <pc:chgData name="William Hunter" userId="fe35ec8f832bb40a" providerId="LiveId" clId="{1CE0BD40-89A8-4A1F-9F41-6C8E89AB2FBB}" dt="2019-06-14T16:38:41.602" v="10" actId="2696"/>
          <pc:sldLayoutMkLst>
            <pc:docMk/>
            <pc:sldMasterMk cId="953781931" sldId="2147483705"/>
            <pc:sldLayoutMk cId="1540848109" sldId="2147483653"/>
          </pc:sldLayoutMkLst>
        </pc:sldLayoutChg>
        <pc:sldLayoutChg chg="del">
          <pc:chgData name="William Hunter" userId="fe35ec8f832bb40a" providerId="LiveId" clId="{1CE0BD40-89A8-4A1F-9F41-6C8E89AB2FBB}" dt="2019-06-14T16:38:41.603" v="11" actId="2696"/>
          <pc:sldLayoutMkLst>
            <pc:docMk/>
            <pc:sldMasterMk cId="953781931" sldId="2147483705"/>
            <pc:sldLayoutMk cId="4108436985" sldId="2147483654"/>
          </pc:sldLayoutMkLst>
        </pc:sldLayoutChg>
        <pc:sldLayoutChg chg="del">
          <pc:chgData name="William Hunter" userId="fe35ec8f832bb40a" providerId="LiveId" clId="{1CE0BD40-89A8-4A1F-9F41-6C8E89AB2FBB}" dt="2019-06-14T16:38:41.603" v="12" actId="2696"/>
          <pc:sldLayoutMkLst>
            <pc:docMk/>
            <pc:sldMasterMk cId="953781931" sldId="2147483705"/>
            <pc:sldLayoutMk cId="1113397493" sldId="2147483655"/>
          </pc:sldLayoutMkLst>
        </pc:sldLayoutChg>
        <pc:sldLayoutChg chg="del">
          <pc:chgData name="William Hunter" userId="fe35ec8f832bb40a" providerId="LiveId" clId="{1CE0BD40-89A8-4A1F-9F41-6C8E89AB2FBB}" dt="2019-06-14T16:38:41.604" v="13" actId="2696"/>
          <pc:sldLayoutMkLst>
            <pc:docMk/>
            <pc:sldMasterMk cId="953781931" sldId="2147483705"/>
            <pc:sldLayoutMk cId="4242512409" sldId="2147483656"/>
          </pc:sldLayoutMkLst>
        </pc:sldLayoutChg>
        <pc:sldLayoutChg chg="del">
          <pc:chgData name="William Hunter" userId="fe35ec8f832bb40a" providerId="LiveId" clId="{1CE0BD40-89A8-4A1F-9F41-6C8E89AB2FBB}" dt="2019-06-14T16:38:41.605" v="14" actId="2696"/>
          <pc:sldLayoutMkLst>
            <pc:docMk/>
            <pc:sldMasterMk cId="953781931" sldId="2147483705"/>
            <pc:sldLayoutMk cId="3416595355" sldId="2147483657"/>
          </pc:sldLayoutMkLst>
        </pc:sldLayoutChg>
        <pc:sldLayoutChg chg="del">
          <pc:chgData name="William Hunter" userId="fe35ec8f832bb40a" providerId="LiveId" clId="{1CE0BD40-89A8-4A1F-9F41-6C8E89AB2FBB}" dt="2019-06-14T16:38:41.605" v="15" actId="2696"/>
          <pc:sldLayoutMkLst>
            <pc:docMk/>
            <pc:sldMasterMk cId="953781931" sldId="2147483705"/>
            <pc:sldLayoutMk cId="2612130100" sldId="2147483658"/>
          </pc:sldLayoutMkLst>
        </pc:sldLayoutChg>
        <pc:sldLayoutChg chg="del">
          <pc:chgData name="William Hunter" userId="fe35ec8f832bb40a" providerId="LiveId" clId="{1CE0BD40-89A8-4A1F-9F41-6C8E89AB2FBB}" dt="2019-06-14T16:38:41.606" v="16" actId="2696"/>
          <pc:sldLayoutMkLst>
            <pc:docMk/>
            <pc:sldMasterMk cId="953781931" sldId="2147483705"/>
            <pc:sldLayoutMk cId="1446312879" sldId="2147483659"/>
          </pc:sldLayoutMkLst>
        </pc:sldLayoutChg>
        <pc:sldLayoutChg chg="del">
          <pc:chgData name="William Hunter" userId="fe35ec8f832bb40a" providerId="LiveId" clId="{1CE0BD40-89A8-4A1F-9F41-6C8E89AB2FBB}" dt="2019-06-14T16:38:41.600" v="7" actId="2696"/>
          <pc:sldLayoutMkLst>
            <pc:docMk/>
            <pc:sldMasterMk cId="953781931" sldId="2147483705"/>
            <pc:sldLayoutMk cId="3325863151" sldId="2147483706"/>
          </pc:sldLayoutMkLst>
        </pc:sldLayoutChg>
      </pc:sldMasterChg>
      <pc:sldMasterChg chg="add del addSldLayout delSldLayout">
        <pc:chgData name="William Hunter" userId="fe35ec8f832bb40a" providerId="LiveId" clId="{1CE0BD40-89A8-4A1F-9F41-6C8E89AB2FBB}" dt="2019-06-14T21:43:38.319" v="3929" actId="2696"/>
        <pc:sldMasterMkLst>
          <pc:docMk/>
          <pc:sldMasterMk cId="2426405339" sldId="2147483781"/>
        </pc:sldMasterMkLst>
        <pc:sldLayoutChg chg="add del">
          <pc:chgData name="William Hunter" userId="fe35ec8f832bb40a" providerId="LiveId" clId="{1CE0BD40-89A8-4A1F-9F41-6C8E89AB2FBB}" dt="2019-06-14T21:43:38.318" v="3928" actId="2696"/>
          <pc:sldLayoutMkLst>
            <pc:docMk/>
            <pc:sldMasterMk cId="2426405339" sldId="2147483781"/>
            <pc:sldLayoutMk cId="2457515163" sldId="2147483783"/>
          </pc:sldLayoutMkLst>
        </pc:sldLayoutChg>
      </pc:sldMasterChg>
      <pc:sldMasterChg chg="replId">
        <pc:chgData name="William Hunter" userId="fe35ec8f832bb40a" providerId="LiveId" clId="{1CE0BD40-89A8-4A1F-9F41-6C8E89AB2FBB}" dt="2019-06-14T20:23:53.177" v="1604" actId="27028"/>
        <pc:sldMasterMkLst>
          <pc:docMk/>
          <pc:sldMasterMk cId="201664310" sldId="2147483784"/>
        </pc:sldMasterMkLst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BB7E733-8430-42FE-910C-F8F1F2FC149F}" type="doc">
      <dgm:prSet loTypeId="urn:microsoft.com/office/officeart/2005/8/layout/bProcess3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7AD0571-2130-44EC-98D4-D79AD95A4ED6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US" dirty="0"/>
            <a:t>Scrape all RFP sites using the Python library BeautifulSoup.</a:t>
          </a:r>
        </a:p>
      </dgm:t>
    </dgm:pt>
    <dgm:pt modelId="{EE08F443-2730-4224-82EA-B45A9DB8522C}" type="parTrans" cxnId="{271A4E75-D83A-427B-BE9B-E9A2793EC18E}">
      <dgm:prSet/>
      <dgm:spPr/>
      <dgm:t>
        <a:bodyPr/>
        <a:lstStyle/>
        <a:p>
          <a:endParaRPr lang="en-US"/>
        </a:p>
      </dgm:t>
    </dgm:pt>
    <dgm:pt modelId="{5F04A46F-FE4E-4AA7-A31A-25EA820EC413}" type="sibTrans" cxnId="{271A4E75-D83A-427B-BE9B-E9A2793EC18E}">
      <dgm:prSet/>
      <dgm:spPr/>
      <dgm:t>
        <a:bodyPr/>
        <a:lstStyle/>
        <a:p>
          <a:endParaRPr lang="en-US"/>
        </a:p>
      </dgm:t>
    </dgm:pt>
    <dgm:pt modelId="{EAE1FE9B-B8C6-48D4-80F9-3A3680501965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US" dirty="0"/>
            <a:t>Insert this data into a raw SQL table.</a:t>
          </a:r>
        </a:p>
      </dgm:t>
    </dgm:pt>
    <dgm:pt modelId="{B1AAAA3B-F99D-4086-9C4C-B1FCD820206D}" type="parTrans" cxnId="{0D0B69A6-2146-4998-A5C9-8A265CF024B3}">
      <dgm:prSet/>
      <dgm:spPr/>
      <dgm:t>
        <a:bodyPr/>
        <a:lstStyle/>
        <a:p>
          <a:endParaRPr lang="en-US"/>
        </a:p>
      </dgm:t>
    </dgm:pt>
    <dgm:pt modelId="{70CF3D0B-D34D-40E2-A233-E4C0F99890A0}" type="sibTrans" cxnId="{0D0B69A6-2146-4998-A5C9-8A265CF024B3}">
      <dgm:prSet/>
      <dgm:spPr/>
      <dgm:t>
        <a:bodyPr/>
        <a:lstStyle/>
        <a:p>
          <a:endParaRPr lang="en-US"/>
        </a:p>
      </dgm:t>
    </dgm:pt>
    <dgm:pt modelId="{A54D46A7-A8D1-4BDF-8FBD-DBE84CF171BC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US" dirty="0"/>
            <a:t>Scrape all event sites using their API through python.</a:t>
          </a:r>
        </a:p>
      </dgm:t>
    </dgm:pt>
    <dgm:pt modelId="{8CC49987-B517-42A7-B4DD-86E1E7EBC7C9}" type="parTrans" cxnId="{5640F99D-6206-4213-AE6E-69DD37A28AB9}">
      <dgm:prSet/>
      <dgm:spPr/>
      <dgm:t>
        <a:bodyPr/>
        <a:lstStyle/>
        <a:p>
          <a:endParaRPr lang="en-US"/>
        </a:p>
      </dgm:t>
    </dgm:pt>
    <dgm:pt modelId="{11E25C5B-1838-4038-8943-D89CBC1D6A30}" type="sibTrans" cxnId="{5640F99D-6206-4213-AE6E-69DD37A28AB9}">
      <dgm:prSet/>
      <dgm:spPr/>
      <dgm:t>
        <a:bodyPr/>
        <a:lstStyle/>
        <a:p>
          <a:endParaRPr lang="en-US"/>
        </a:p>
      </dgm:t>
    </dgm:pt>
    <dgm:pt modelId="{1E6A38A5-F1B8-4862-87C2-CF43CB1A1D53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US" dirty="0"/>
            <a:t>Insert this data into a raw SQL table.</a:t>
          </a:r>
        </a:p>
      </dgm:t>
    </dgm:pt>
    <dgm:pt modelId="{C2E5BCC0-3548-430B-B04A-F3E351B97281}" type="parTrans" cxnId="{2AAA12DC-E329-4620-B985-24D48D9C9A57}">
      <dgm:prSet/>
      <dgm:spPr/>
      <dgm:t>
        <a:bodyPr/>
        <a:lstStyle/>
        <a:p>
          <a:endParaRPr lang="en-US"/>
        </a:p>
      </dgm:t>
    </dgm:pt>
    <dgm:pt modelId="{A6B8BA5C-0A9C-4FB8-B438-850FAA853116}" type="sibTrans" cxnId="{2AAA12DC-E329-4620-B985-24D48D9C9A57}">
      <dgm:prSet/>
      <dgm:spPr/>
      <dgm:t>
        <a:bodyPr/>
        <a:lstStyle/>
        <a:p>
          <a:endParaRPr lang="en-US"/>
        </a:p>
      </dgm:t>
    </dgm:pt>
    <dgm:pt modelId="{3BD1AB16-57FB-46E2-AE4E-C23195518369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US" dirty="0"/>
            <a:t>Clean the individual tables using SQL queries.</a:t>
          </a:r>
        </a:p>
      </dgm:t>
    </dgm:pt>
    <dgm:pt modelId="{5175457D-E0C2-4042-B70C-291F8E1EE817}" type="parTrans" cxnId="{1F313225-4618-445C-B4D4-F827792F0B48}">
      <dgm:prSet/>
      <dgm:spPr/>
      <dgm:t>
        <a:bodyPr/>
        <a:lstStyle/>
        <a:p>
          <a:endParaRPr lang="en-US"/>
        </a:p>
      </dgm:t>
    </dgm:pt>
    <dgm:pt modelId="{BAFB09AB-5CD6-4ED7-92F0-BD00E717EE30}" type="sibTrans" cxnId="{1F313225-4618-445C-B4D4-F827792F0B48}">
      <dgm:prSet/>
      <dgm:spPr/>
      <dgm:t>
        <a:bodyPr/>
        <a:lstStyle/>
        <a:p>
          <a:endParaRPr lang="en-US"/>
        </a:p>
      </dgm:t>
    </dgm:pt>
    <dgm:pt modelId="{DA2B5904-1062-4FE3-B4D8-FC638A886167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US"/>
            <a:t>Insert all individual sites into master table and current table.</a:t>
          </a:r>
          <a:endParaRPr lang="en-US" dirty="0"/>
        </a:p>
      </dgm:t>
    </dgm:pt>
    <dgm:pt modelId="{B8DB0DAE-F7D7-4C87-B4D5-C0703FDDC77D}" type="parTrans" cxnId="{1C79C19F-17E5-49F5-9F8C-76EA6C437BC1}">
      <dgm:prSet/>
      <dgm:spPr/>
      <dgm:t>
        <a:bodyPr/>
        <a:lstStyle/>
        <a:p>
          <a:endParaRPr lang="en-US"/>
        </a:p>
      </dgm:t>
    </dgm:pt>
    <dgm:pt modelId="{18760782-0E23-41FC-9B08-E30F6E0ED336}" type="sibTrans" cxnId="{1C79C19F-17E5-49F5-9F8C-76EA6C437BC1}">
      <dgm:prSet/>
      <dgm:spPr/>
      <dgm:t>
        <a:bodyPr/>
        <a:lstStyle/>
        <a:p>
          <a:endParaRPr lang="en-US"/>
        </a:p>
      </dgm:t>
    </dgm:pt>
    <dgm:pt modelId="{E0FD790C-3895-4B70-A3B4-5E84F91385C2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US"/>
            <a:t>Using Pandas take SQL queries and insert the data in data frame.</a:t>
          </a:r>
          <a:endParaRPr lang="en-US" dirty="0"/>
        </a:p>
      </dgm:t>
    </dgm:pt>
    <dgm:pt modelId="{B79EBD0C-5E91-4E2D-9725-5D2429DD824C}" type="parTrans" cxnId="{84C944A6-6519-472D-9DB3-DDD76875F3F2}">
      <dgm:prSet/>
      <dgm:spPr/>
      <dgm:t>
        <a:bodyPr/>
        <a:lstStyle/>
        <a:p>
          <a:endParaRPr lang="en-US"/>
        </a:p>
      </dgm:t>
    </dgm:pt>
    <dgm:pt modelId="{10099043-A0FE-44EF-9D0E-D58691AD1832}" type="sibTrans" cxnId="{84C944A6-6519-472D-9DB3-DDD76875F3F2}">
      <dgm:prSet/>
      <dgm:spPr/>
      <dgm:t>
        <a:bodyPr/>
        <a:lstStyle/>
        <a:p>
          <a:endParaRPr lang="en-US"/>
        </a:p>
      </dgm:t>
    </dgm:pt>
    <dgm:pt modelId="{FD49D57D-A05C-45FD-8BD8-A22D7B8B1A50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US"/>
            <a:t>Export the data frames into excel sheets.</a:t>
          </a:r>
          <a:endParaRPr lang="en-US" dirty="0"/>
        </a:p>
      </dgm:t>
    </dgm:pt>
    <dgm:pt modelId="{E25B18A1-E286-4A72-B68E-9FF016E13211}" type="parTrans" cxnId="{BFBF20D1-936F-4CA9-A02A-18A1BC50745F}">
      <dgm:prSet/>
      <dgm:spPr/>
      <dgm:t>
        <a:bodyPr/>
        <a:lstStyle/>
        <a:p>
          <a:endParaRPr lang="en-US"/>
        </a:p>
      </dgm:t>
    </dgm:pt>
    <dgm:pt modelId="{280E4D15-FE40-48CB-8470-B7011692311B}" type="sibTrans" cxnId="{BFBF20D1-936F-4CA9-A02A-18A1BC50745F}">
      <dgm:prSet/>
      <dgm:spPr/>
      <dgm:t>
        <a:bodyPr/>
        <a:lstStyle/>
        <a:p>
          <a:endParaRPr lang="en-US"/>
        </a:p>
      </dgm:t>
    </dgm:pt>
    <dgm:pt modelId="{4875BCE9-10C9-466D-AE82-11DCB4F8F664}">
      <dgm:prSet phldrT="[Text]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US"/>
            <a:t>Attach the excel sheet and email the team the results using Yagmail and HMTL.</a:t>
          </a:r>
          <a:endParaRPr lang="en-US" dirty="0"/>
        </a:p>
      </dgm:t>
    </dgm:pt>
    <dgm:pt modelId="{9D1F603F-0A41-497D-AE5F-6EB0825BA38A}" type="parTrans" cxnId="{AA3F9C5A-C787-4789-A6B3-5F5100128E04}">
      <dgm:prSet/>
      <dgm:spPr/>
      <dgm:t>
        <a:bodyPr/>
        <a:lstStyle/>
        <a:p>
          <a:endParaRPr lang="en-US"/>
        </a:p>
      </dgm:t>
    </dgm:pt>
    <dgm:pt modelId="{A093580E-C63E-481D-9238-F5439A43563C}" type="sibTrans" cxnId="{AA3F9C5A-C787-4789-A6B3-5F5100128E04}">
      <dgm:prSet/>
      <dgm:spPr/>
      <dgm:t>
        <a:bodyPr/>
        <a:lstStyle/>
        <a:p>
          <a:endParaRPr lang="en-US"/>
        </a:p>
      </dgm:t>
    </dgm:pt>
    <dgm:pt modelId="{1B4B6972-EA18-477D-9BDF-AA864B253F95}" type="pres">
      <dgm:prSet presAssocID="{2BB7E733-8430-42FE-910C-F8F1F2FC149F}" presName="Name0" presStyleCnt="0">
        <dgm:presLayoutVars>
          <dgm:dir/>
          <dgm:resizeHandles val="exact"/>
        </dgm:presLayoutVars>
      </dgm:prSet>
      <dgm:spPr/>
    </dgm:pt>
    <dgm:pt modelId="{960AB0B3-A5F5-4030-9B86-19242F2AC9EF}" type="pres">
      <dgm:prSet presAssocID="{37AD0571-2130-44EC-98D4-D79AD95A4ED6}" presName="node" presStyleLbl="node1" presStyleIdx="0" presStyleCnt="9">
        <dgm:presLayoutVars>
          <dgm:bulletEnabled val="1"/>
        </dgm:presLayoutVars>
      </dgm:prSet>
      <dgm:spPr/>
    </dgm:pt>
    <dgm:pt modelId="{4E9330EE-407C-408E-BD01-D1F2CF4ADD16}" type="pres">
      <dgm:prSet presAssocID="{5F04A46F-FE4E-4AA7-A31A-25EA820EC413}" presName="sibTrans" presStyleLbl="sibTrans1D1" presStyleIdx="0" presStyleCnt="8"/>
      <dgm:spPr/>
    </dgm:pt>
    <dgm:pt modelId="{C7381F9A-FDB1-4055-B6C8-7EB9C755F6FE}" type="pres">
      <dgm:prSet presAssocID="{5F04A46F-FE4E-4AA7-A31A-25EA820EC413}" presName="connectorText" presStyleLbl="sibTrans1D1" presStyleIdx="0" presStyleCnt="8"/>
      <dgm:spPr/>
    </dgm:pt>
    <dgm:pt modelId="{A1C57144-956C-40F8-A224-C4597312C669}" type="pres">
      <dgm:prSet presAssocID="{EAE1FE9B-B8C6-48D4-80F9-3A3680501965}" presName="node" presStyleLbl="node1" presStyleIdx="1" presStyleCnt="9">
        <dgm:presLayoutVars>
          <dgm:bulletEnabled val="1"/>
        </dgm:presLayoutVars>
      </dgm:prSet>
      <dgm:spPr/>
    </dgm:pt>
    <dgm:pt modelId="{27745039-22D6-4CFB-8B7E-2F7467B51129}" type="pres">
      <dgm:prSet presAssocID="{70CF3D0B-D34D-40E2-A233-E4C0F99890A0}" presName="sibTrans" presStyleLbl="sibTrans1D1" presStyleIdx="1" presStyleCnt="8"/>
      <dgm:spPr/>
    </dgm:pt>
    <dgm:pt modelId="{8C02F31D-E44D-4AD7-A7BD-CFC324E802CF}" type="pres">
      <dgm:prSet presAssocID="{70CF3D0B-D34D-40E2-A233-E4C0F99890A0}" presName="connectorText" presStyleLbl="sibTrans1D1" presStyleIdx="1" presStyleCnt="8"/>
      <dgm:spPr/>
    </dgm:pt>
    <dgm:pt modelId="{4385BE4A-3DDC-4B1F-9139-2F157505D26E}" type="pres">
      <dgm:prSet presAssocID="{A54D46A7-A8D1-4BDF-8FBD-DBE84CF171BC}" presName="node" presStyleLbl="node1" presStyleIdx="2" presStyleCnt="9">
        <dgm:presLayoutVars>
          <dgm:bulletEnabled val="1"/>
        </dgm:presLayoutVars>
      </dgm:prSet>
      <dgm:spPr/>
    </dgm:pt>
    <dgm:pt modelId="{3D1A3D19-2123-46A5-9D9F-43FB4578ECA7}" type="pres">
      <dgm:prSet presAssocID="{11E25C5B-1838-4038-8943-D89CBC1D6A30}" presName="sibTrans" presStyleLbl="sibTrans1D1" presStyleIdx="2" presStyleCnt="8"/>
      <dgm:spPr/>
    </dgm:pt>
    <dgm:pt modelId="{6150AC10-6F6A-4965-AE8B-A60C643FB3D8}" type="pres">
      <dgm:prSet presAssocID="{11E25C5B-1838-4038-8943-D89CBC1D6A30}" presName="connectorText" presStyleLbl="sibTrans1D1" presStyleIdx="2" presStyleCnt="8"/>
      <dgm:spPr/>
    </dgm:pt>
    <dgm:pt modelId="{A001A0BC-93EE-4A51-B6C4-256D94BE5A41}" type="pres">
      <dgm:prSet presAssocID="{1E6A38A5-F1B8-4862-87C2-CF43CB1A1D53}" presName="node" presStyleLbl="node1" presStyleIdx="3" presStyleCnt="9" custLinFactX="-168637" custLinFactY="28916" custLinFactNeighborX="-200000" custLinFactNeighborY="100000">
        <dgm:presLayoutVars>
          <dgm:bulletEnabled val="1"/>
        </dgm:presLayoutVars>
      </dgm:prSet>
      <dgm:spPr/>
    </dgm:pt>
    <dgm:pt modelId="{DA31445B-A214-4FF4-A7B9-CDFBB6FD4F2E}" type="pres">
      <dgm:prSet presAssocID="{A6B8BA5C-0A9C-4FB8-B438-850FAA853116}" presName="sibTrans" presStyleLbl="sibTrans1D1" presStyleIdx="3" presStyleCnt="8"/>
      <dgm:spPr/>
    </dgm:pt>
    <dgm:pt modelId="{6DEF602D-7695-476C-8963-6247439DDF5C}" type="pres">
      <dgm:prSet presAssocID="{A6B8BA5C-0A9C-4FB8-B438-850FAA853116}" presName="connectorText" presStyleLbl="sibTrans1D1" presStyleIdx="3" presStyleCnt="8"/>
      <dgm:spPr/>
    </dgm:pt>
    <dgm:pt modelId="{8B2A05EC-1F05-41D1-9154-A6668F544AF4}" type="pres">
      <dgm:prSet presAssocID="{3BD1AB16-57FB-46E2-AE4E-C23195518369}" presName="node" presStyleLbl="node1" presStyleIdx="4" presStyleCnt="9" custLinFactX="25416" custLinFactNeighborX="100000" custLinFactNeighborY="-9417">
        <dgm:presLayoutVars>
          <dgm:bulletEnabled val="1"/>
        </dgm:presLayoutVars>
      </dgm:prSet>
      <dgm:spPr/>
    </dgm:pt>
    <dgm:pt modelId="{EC25565D-0F88-462E-9D81-98946FE2803E}" type="pres">
      <dgm:prSet presAssocID="{BAFB09AB-5CD6-4ED7-92F0-BD00E717EE30}" presName="sibTrans" presStyleLbl="sibTrans1D1" presStyleIdx="4" presStyleCnt="8"/>
      <dgm:spPr/>
    </dgm:pt>
    <dgm:pt modelId="{7C7A98C2-44F2-4D96-999B-66A876E1064F}" type="pres">
      <dgm:prSet presAssocID="{BAFB09AB-5CD6-4ED7-92F0-BD00E717EE30}" presName="connectorText" presStyleLbl="sibTrans1D1" presStyleIdx="4" presStyleCnt="8"/>
      <dgm:spPr/>
    </dgm:pt>
    <dgm:pt modelId="{8B8522CC-54E5-4242-B473-DA05EF12C3FD}" type="pres">
      <dgm:prSet presAssocID="{DA2B5904-1062-4FE3-B4D8-FC638A886167}" presName="node" presStyleLbl="node1" presStyleIdx="5" presStyleCnt="9" custLinFactX="24922" custLinFactNeighborX="100000" custLinFactNeighborY="-9417">
        <dgm:presLayoutVars>
          <dgm:bulletEnabled val="1"/>
        </dgm:presLayoutVars>
      </dgm:prSet>
      <dgm:spPr/>
    </dgm:pt>
    <dgm:pt modelId="{86814BCE-F7D0-4C0F-BE47-E73882476AFD}" type="pres">
      <dgm:prSet presAssocID="{18760782-0E23-41FC-9B08-E30F6E0ED336}" presName="sibTrans" presStyleLbl="sibTrans1D1" presStyleIdx="5" presStyleCnt="8"/>
      <dgm:spPr/>
    </dgm:pt>
    <dgm:pt modelId="{3C879116-CF5A-4FF1-958D-EEFAC3EB2BBD}" type="pres">
      <dgm:prSet presAssocID="{18760782-0E23-41FC-9B08-E30F6E0ED336}" presName="connectorText" presStyleLbl="sibTrans1D1" presStyleIdx="5" presStyleCnt="8"/>
      <dgm:spPr/>
    </dgm:pt>
    <dgm:pt modelId="{FD732174-AA78-46D3-A6B5-B3AD940E207F}" type="pres">
      <dgm:prSet presAssocID="{E0FD790C-3895-4B70-A3B4-5E84F91385C2}" presName="node" presStyleLbl="node1" presStyleIdx="6" presStyleCnt="9" custLinFactX="-100000" custLinFactY="18041" custLinFactNeighborX="-145129" custLinFactNeighborY="100000">
        <dgm:presLayoutVars>
          <dgm:bulletEnabled val="1"/>
        </dgm:presLayoutVars>
      </dgm:prSet>
      <dgm:spPr/>
    </dgm:pt>
    <dgm:pt modelId="{88EB81D2-CE65-43AB-90F4-345C0367FB2D}" type="pres">
      <dgm:prSet presAssocID="{10099043-A0FE-44EF-9D0E-D58691AD1832}" presName="sibTrans" presStyleLbl="sibTrans1D1" presStyleIdx="6" presStyleCnt="8"/>
      <dgm:spPr/>
    </dgm:pt>
    <dgm:pt modelId="{B7650F94-7FE2-4A65-A9F5-A0B9A71D7FFF}" type="pres">
      <dgm:prSet presAssocID="{10099043-A0FE-44EF-9D0E-D58691AD1832}" presName="connectorText" presStyleLbl="sibTrans1D1" presStyleIdx="6" presStyleCnt="8"/>
      <dgm:spPr/>
    </dgm:pt>
    <dgm:pt modelId="{9472F00E-6F7D-4B88-AF36-90834AF0A63C}" type="pres">
      <dgm:prSet presAssocID="{FD49D57D-A05C-45FD-8BD8-A22D7B8B1A50}" presName="node" presStyleLbl="node1" presStyleIdx="7" presStyleCnt="9" custLinFactX="-100000" custLinFactY="18227" custLinFactNeighborX="-142642" custLinFactNeighborY="100000">
        <dgm:presLayoutVars>
          <dgm:bulletEnabled val="1"/>
        </dgm:presLayoutVars>
      </dgm:prSet>
      <dgm:spPr/>
    </dgm:pt>
    <dgm:pt modelId="{CDC1AE27-1291-41FF-857E-14F952315297}" type="pres">
      <dgm:prSet presAssocID="{280E4D15-FE40-48CB-8470-B7011692311B}" presName="sibTrans" presStyleLbl="sibTrans1D1" presStyleIdx="7" presStyleCnt="8"/>
      <dgm:spPr/>
    </dgm:pt>
    <dgm:pt modelId="{A4125BE9-AF77-4C7F-B49B-321E1B30C7B4}" type="pres">
      <dgm:prSet presAssocID="{280E4D15-FE40-48CB-8470-B7011692311B}" presName="connectorText" presStyleLbl="sibTrans1D1" presStyleIdx="7" presStyleCnt="8"/>
      <dgm:spPr/>
    </dgm:pt>
    <dgm:pt modelId="{D2E3A028-18BE-4956-B8FB-C38882424BA9}" type="pres">
      <dgm:prSet presAssocID="{4875BCE9-10C9-466D-AE82-11DCB4F8F664}" presName="node" presStyleLbl="node1" presStyleIdx="8" presStyleCnt="9" custLinFactX="100000" custLinFactNeighborX="147015" custLinFactNeighborY="-20262">
        <dgm:presLayoutVars>
          <dgm:bulletEnabled val="1"/>
        </dgm:presLayoutVars>
      </dgm:prSet>
      <dgm:spPr/>
    </dgm:pt>
  </dgm:ptLst>
  <dgm:cxnLst>
    <dgm:cxn modelId="{1F876F09-8B7F-45E4-8354-911254450DFD}" type="presOf" srcId="{70CF3D0B-D34D-40E2-A233-E4C0F99890A0}" destId="{27745039-22D6-4CFB-8B7E-2F7467B51129}" srcOrd="0" destOrd="0" presId="urn:microsoft.com/office/officeart/2005/8/layout/bProcess3"/>
    <dgm:cxn modelId="{46A9AE19-2A28-4B07-9287-70CA1AEC9A9B}" type="presOf" srcId="{280E4D15-FE40-48CB-8470-B7011692311B}" destId="{A4125BE9-AF77-4C7F-B49B-321E1B30C7B4}" srcOrd="1" destOrd="0" presId="urn:microsoft.com/office/officeart/2005/8/layout/bProcess3"/>
    <dgm:cxn modelId="{99007422-FFD0-4CDA-9B60-A3F198E6D480}" type="presOf" srcId="{DA2B5904-1062-4FE3-B4D8-FC638A886167}" destId="{8B8522CC-54E5-4242-B473-DA05EF12C3FD}" srcOrd="0" destOrd="0" presId="urn:microsoft.com/office/officeart/2005/8/layout/bProcess3"/>
    <dgm:cxn modelId="{1F313225-4618-445C-B4D4-F827792F0B48}" srcId="{2BB7E733-8430-42FE-910C-F8F1F2FC149F}" destId="{3BD1AB16-57FB-46E2-AE4E-C23195518369}" srcOrd="4" destOrd="0" parTransId="{5175457D-E0C2-4042-B70C-291F8E1EE817}" sibTransId="{BAFB09AB-5CD6-4ED7-92F0-BD00E717EE30}"/>
    <dgm:cxn modelId="{61FEA927-2FCD-4698-BDD7-3561CAF63FA1}" type="presOf" srcId="{FD49D57D-A05C-45FD-8BD8-A22D7B8B1A50}" destId="{9472F00E-6F7D-4B88-AF36-90834AF0A63C}" srcOrd="0" destOrd="0" presId="urn:microsoft.com/office/officeart/2005/8/layout/bProcess3"/>
    <dgm:cxn modelId="{1CF4CC2B-CA30-4B9A-86A4-DC4160DC1FB8}" type="presOf" srcId="{11E25C5B-1838-4038-8943-D89CBC1D6A30}" destId="{3D1A3D19-2123-46A5-9D9F-43FB4578ECA7}" srcOrd="0" destOrd="0" presId="urn:microsoft.com/office/officeart/2005/8/layout/bProcess3"/>
    <dgm:cxn modelId="{933D6D30-8B7C-4C98-8845-B97DAA27D08A}" type="presOf" srcId="{A6B8BA5C-0A9C-4FB8-B438-850FAA853116}" destId="{DA31445B-A214-4FF4-A7B9-CDFBB6FD4F2E}" srcOrd="0" destOrd="0" presId="urn:microsoft.com/office/officeart/2005/8/layout/bProcess3"/>
    <dgm:cxn modelId="{A9007442-930F-45CB-AE25-475143076E78}" type="presOf" srcId="{4875BCE9-10C9-466D-AE82-11DCB4F8F664}" destId="{D2E3A028-18BE-4956-B8FB-C38882424BA9}" srcOrd="0" destOrd="0" presId="urn:microsoft.com/office/officeart/2005/8/layout/bProcess3"/>
    <dgm:cxn modelId="{19CA3F44-6239-400F-B013-893DB5E9F2F3}" type="presOf" srcId="{A54D46A7-A8D1-4BDF-8FBD-DBE84CF171BC}" destId="{4385BE4A-3DDC-4B1F-9139-2F157505D26E}" srcOrd="0" destOrd="0" presId="urn:microsoft.com/office/officeart/2005/8/layout/bProcess3"/>
    <dgm:cxn modelId="{96A62F45-F6F4-4994-914F-8834B0BB11CA}" type="presOf" srcId="{18760782-0E23-41FC-9B08-E30F6E0ED336}" destId="{3C879116-CF5A-4FF1-958D-EEFAC3EB2BBD}" srcOrd="1" destOrd="0" presId="urn:microsoft.com/office/officeart/2005/8/layout/bProcess3"/>
    <dgm:cxn modelId="{7E2BA345-D21C-421C-8AE0-B848A0083435}" type="presOf" srcId="{37AD0571-2130-44EC-98D4-D79AD95A4ED6}" destId="{960AB0B3-A5F5-4030-9B86-19242F2AC9EF}" srcOrd="0" destOrd="0" presId="urn:microsoft.com/office/officeart/2005/8/layout/bProcess3"/>
    <dgm:cxn modelId="{271A4E75-D83A-427B-BE9B-E9A2793EC18E}" srcId="{2BB7E733-8430-42FE-910C-F8F1F2FC149F}" destId="{37AD0571-2130-44EC-98D4-D79AD95A4ED6}" srcOrd="0" destOrd="0" parTransId="{EE08F443-2730-4224-82EA-B45A9DB8522C}" sibTransId="{5F04A46F-FE4E-4AA7-A31A-25EA820EC413}"/>
    <dgm:cxn modelId="{4DCC8C56-084E-4484-AF3D-1FBA0F4E0EF6}" type="presOf" srcId="{E0FD790C-3895-4B70-A3B4-5E84F91385C2}" destId="{FD732174-AA78-46D3-A6B5-B3AD940E207F}" srcOrd="0" destOrd="0" presId="urn:microsoft.com/office/officeart/2005/8/layout/bProcess3"/>
    <dgm:cxn modelId="{AA3F9C5A-C787-4789-A6B3-5F5100128E04}" srcId="{2BB7E733-8430-42FE-910C-F8F1F2FC149F}" destId="{4875BCE9-10C9-466D-AE82-11DCB4F8F664}" srcOrd="8" destOrd="0" parTransId="{9D1F603F-0A41-497D-AE5F-6EB0825BA38A}" sibTransId="{A093580E-C63E-481D-9238-F5439A43563C}"/>
    <dgm:cxn modelId="{B78A0D7B-C080-4738-9D7B-166390B283B3}" type="presOf" srcId="{EAE1FE9B-B8C6-48D4-80F9-3A3680501965}" destId="{A1C57144-956C-40F8-A224-C4597312C669}" srcOrd="0" destOrd="0" presId="urn:microsoft.com/office/officeart/2005/8/layout/bProcess3"/>
    <dgm:cxn modelId="{7F408E80-361D-4CFD-A155-038F3F9B7B32}" type="presOf" srcId="{BAFB09AB-5CD6-4ED7-92F0-BD00E717EE30}" destId="{7C7A98C2-44F2-4D96-999B-66A876E1064F}" srcOrd="1" destOrd="0" presId="urn:microsoft.com/office/officeart/2005/8/layout/bProcess3"/>
    <dgm:cxn modelId="{6529E595-3CFE-48A3-A353-984306B143BE}" type="presOf" srcId="{18760782-0E23-41FC-9B08-E30F6E0ED336}" destId="{86814BCE-F7D0-4C0F-BE47-E73882476AFD}" srcOrd="0" destOrd="0" presId="urn:microsoft.com/office/officeart/2005/8/layout/bProcess3"/>
    <dgm:cxn modelId="{5640F99D-6206-4213-AE6E-69DD37A28AB9}" srcId="{2BB7E733-8430-42FE-910C-F8F1F2FC149F}" destId="{A54D46A7-A8D1-4BDF-8FBD-DBE84CF171BC}" srcOrd="2" destOrd="0" parTransId="{8CC49987-B517-42A7-B4DD-86E1E7EBC7C9}" sibTransId="{11E25C5B-1838-4038-8943-D89CBC1D6A30}"/>
    <dgm:cxn modelId="{1C79C19F-17E5-49F5-9F8C-76EA6C437BC1}" srcId="{2BB7E733-8430-42FE-910C-F8F1F2FC149F}" destId="{DA2B5904-1062-4FE3-B4D8-FC638A886167}" srcOrd="5" destOrd="0" parTransId="{B8DB0DAE-F7D7-4C87-B4D5-C0703FDDC77D}" sibTransId="{18760782-0E23-41FC-9B08-E30F6E0ED336}"/>
    <dgm:cxn modelId="{84C944A6-6519-472D-9DB3-DDD76875F3F2}" srcId="{2BB7E733-8430-42FE-910C-F8F1F2FC149F}" destId="{E0FD790C-3895-4B70-A3B4-5E84F91385C2}" srcOrd="6" destOrd="0" parTransId="{B79EBD0C-5E91-4E2D-9725-5D2429DD824C}" sibTransId="{10099043-A0FE-44EF-9D0E-D58691AD1832}"/>
    <dgm:cxn modelId="{0D0B69A6-2146-4998-A5C9-8A265CF024B3}" srcId="{2BB7E733-8430-42FE-910C-F8F1F2FC149F}" destId="{EAE1FE9B-B8C6-48D4-80F9-3A3680501965}" srcOrd="1" destOrd="0" parTransId="{B1AAAA3B-F99D-4086-9C4C-B1FCD820206D}" sibTransId="{70CF3D0B-D34D-40E2-A233-E4C0F99890A0}"/>
    <dgm:cxn modelId="{B8515AA8-1102-44C9-A7FC-ED50CE989879}" type="presOf" srcId="{BAFB09AB-5CD6-4ED7-92F0-BD00E717EE30}" destId="{EC25565D-0F88-462E-9D81-98946FE2803E}" srcOrd="0" destOrd="0" presId="urn:microsoft.com/office/officeart/2005/8/layout/bProcess3"/>
    <dgm:cxn modelId="{BEF9CDB0-F639-475C-AB51-C074801BB40A}" type="presOf" srcId="{1E6A38A5-F1B8-4862-87C2-CF43CB1A1D53}" destId="{A001A0BC-93EE-4A51-B6C4-256D94BE5A41}" srcOrd="0" destOrd="0" presId="urn:microsoft.com/office/officeart/2005/8/layout/bProcess3"/>
    <dgm:cxn modelId="{67AC40B7-5B9C-459F-95F1-6B8DF8402942}" type="presOf" srcId="{10099043-A0FE-44EF-9D0E-D58691AD1832}" destId="{88EB81D2-CE65-43AB-90F4-345C0367FB2D}" srcOrd="0" destOrd="0" presId="urn:microsoft.com/office/officeart/2005/8/layout/bProcess3"/>
    <dgm:cxn modelId="{AD0B3ABB-BADA-44F9-9651-AF8A4A01DAB5}" type="presOf" srcId="{3BD1AB16-57FB-46E2-AE4E-C23195518369}" destId="{8B2A05EC-1F05-41D1-9154-A6668F544AF4}" srcOrd="0" destOrd="0" presId="urn:microsoft.com/office/officeart/2005/8/layout/bProcess3"/>
    <dgm:cxn modelId="{0CD5D4BE-199E-4E46-A13B-2E3E8089B331}" type="presOf" srcId="{A6B8BA5C-0A9C-4FB8-B438-850FAA853116}" destId="{6DEF602D-7695-476C-8963-6247439DDF5C}" srcOrd="1" destOrd="0" presId="urn:microsoft.com/office/officeart/2005/8/layout/bProcess3"/>
    <dgm:cxn modelId="{7D6BBFC7-CA4E-4040-9ED5-E878EEB7AFD4}" type="presOf" srcId="{70CF3D0B-D34D-40E2-A233-E4C0F99890A0}" destId="{8C02F31D-E44D-4AD7-A7BD-CFC324E802CF}" srcOrd="1" destOrd="0" presId="urn:microsoft.com/office/officeart/2005/8/layout/bProcess3"/>
    <dgm:cxn modelId="{BFBF20D1-936F-4CA9-A02A-18A1BC50745F}" srcId="{2BB7E733-8430-42FE-910C-F8F1F2FC149F}" destId="{FD49D57D-A05C-45FD-8BD8-A22D7B8B1A50}" srcOrd="7" destOrd="0" parTransId="{E25B18A1-E286-4A72-B68E-9FF016E13211}" sibTransId="{280E4D15-FE40-48CB-8470-B7011692311B}"/>
    <dgm:cxn modelId="{078EA0D1-A2E2-4A39-B3FB-F6662D8B3E33}" type="presOf" srcId="{2BB7E733-8430-42FE-910C-F8F1F2FC149F}" destId="{1B4B6972-EA18-477D-9BDF-AA864B253F95}" srcOrd="0" destOrd="0" presId="urn:microsoft.com/office/officeart/2005/8/layout/bProcess3"/>
    <dgm:cxn modelId="{5A4A9FDA-4EDA-411A-AAD6-24176E6A6054}" type="presOf" srcId="{280E4D15-FE40-48CB-8470-B7011692311B}" destId="{CDC1AE27-1291-41FF-857E-14F952315297}" srcOrd="0" destOrd="0" presId="urn:microsoft.com/office/officeart/2005/8/layout/bProcess3"/>
    <dgm:cxn modelId="{2AAA12DC-E329-4620-B985-24D48D9C9A57}" srcId="{2BB7E733-8430-42FE-910C-F8F1F2FC149F}" destId="{1E6A38A5-F1B8-4862-87C2-CF43CB1A1D53}" srcOrd="3" destOrd="0" parTransId="{C2E5BCC0-3548-430B-B04A-F3E351B97281}" sibTransId="{A6B8BA5C-0A9C-4FB8-B438-850FAA853116}"/>
    <dgm:cxn modelId="{520DEFDC-2316-4528-8A37-BE7B6D25F87E}" type="presOf" srcId="{10099043-A0FE-44EF-9D0E-D58691AD1832}" destId="{B7650F94-7FE2-4A65-A9F5-A0B9A71D7FFF}" srcOrd="1" destOrd="0" presId="urn:microsoft.com/office/officeart/2005/8/layout/bProcess3"/>
    <dgm:cxn modelId="{35AC21E0-317D-4770-8183-DA8471BE27A6}" type="presOf" srcId="{5F04A46F-FE4E-4AA7-A31A-25EA820EC413}" destId="{C7381F9A-FDB1-4055-B6C8-7EB9C755F6FE}" srcOrd="1" destOrd="0" presId="urn:microsoft.com/office/officeart/2005/8/layout/bProcess3"/>
    <dgm:cxn modelId="{8F0AB4EF-DBB9-4888-90AC-02FE253595C3}" type="presOf" srcId="{5F04A46F-FE4E-4AA7-A31A-25EA820EC413}" destId="{4E9330EE-407C-408E-BD01-D1F2CF4ADD16}" srcOrd="0" destOrd="0" presId="urn:microsoft.com/office/officeart/2005/8/layout/bProcess3"/>
    <dgm:cxn modelId="{64304FF0-BAE3-4C56-A6B8-A33B061A2B7B}" type="presOf" srcId="{11E25C5B-1838-4038-8943-D89CBC1D6A30}" destId="{6150AC10-6F6A-4965-AE8B-A60C643FB3D8}" srcOrd="1" destOrd="0" presId="urn:microsoft.com/office/officeart/2005/8/layout/bProcess3"/>
    <dgm:cxn modelId="{DE4CBB98-59B4-406A-AFAC-43A4C5C4B432}" type="presParOf" srcId="{1B4B6972-EA18-477D-9BDF-AA864B253F95}" destId="{960AB0B3-A5F5-4030-9B86-19242F2AC9EF}" srcOrd="0" destOrd="0" presId="urn:microsoft.com/office/officeart/2005/8/layout/bProcess3"/>
    <dgm:cxn modelId="{EC7C1C88-7E21-4195-A89D-D4171DFD3FB7}" type="presParOf" srcId="{1B4B6972-EA18-477D-9BDF-AA864B253F95}" destId="{4E9330EE-407C-408E-BD01-D1F2CF4ADD16}" srcOrd="1" destOrd="0" presId="urn:microsoft.com/office/officeart/2005/8/layout/bProcess3"/>
    <dgm:cxn modelId="{FACCC77A-6F1F-42AE-946F-65B1F2556039}" type="presParOf" srcId="{4E9330EE-407C-408E-BD01-D1F2CF4ADD16}" destId="{C7381F9A-FDB1-4055-B6C8-7EB9C755F6FE}" srcOrd="0" destOrd="0" presId="urn:microsoft.com/office/officeart/2005/8/layout/bProcess3"/>
    <dgm:cxn modelId="{CE15D560-03E2-400E-9B11-A8F2A5CE74F6}" type="presParOf" srcId="{1B4B6972-EA18-477D-9BDF-AA864B253F95}" destId="{A1C57144-956C-40F8-A224-C4597312C669}" srcOrd="2" destOrd="0" presId="urn:microsoft.com/office/officeart/2005/8/layout/bProcess3"/>
    <dgm:cxn modelId="{76584CC9-74F1-43AC-9682-554D537AC057}" type="presParOf" srcId="{1B4B6972-EA18-477D-9BDF-AA864B253F95}" destId="{27745039-22D6-4CFB-8B7E-2F7467B51129}" srcOrd="3" destOrd="0" presId="urn:microsoft.com/office/officeart/2005/8/layout/bProcess3"/>
    <dgm:cxn modelId="{4686F12F-C654-4833-8863-96D6C7EA8AE0}" type="presParOf" srcId="{27745039-22D6-4CFB-8B7E-2F7467B51129}" destId="{8C02F31D-E44D-4AD7-A7BD-CFC324E802CF}" srcOrd="0" destOrd="0" presId="urn:microsoft.com/office/officeart/2005/8/layout/bProcess3"/>
    <dgm:cxn modelId="{28469D8F-4FF5-4320-8482-6594D40EA0A1}" type="presParOf" srcId="{1B4B6972-EA18-477D-9BDF-AA864B253F95}" destId="{4385BE4A-3DDC-4B1F-9139-2F157505D26E}" srcOrd="4" destOrd="0" presId="urn:microsoft.com/office/officeart/2005/8/layout/bProcess3"/>
    <dgm:cxn modelId="{FE61DC0C-6B6B-44F1-8DB8-15A706DB249F}" type="presParOf" srcId="{1B4B6972-EA18-477D-9BDF-AA864B253F95}" destId="{3D1A3D19-2123-46A5-9D9F-43FB4578ECA7}" srcOrd="5" destOrd="0" presId="urn:microsoft.com/office/officeart/2005/8/layout/bProcess3"/>
    <dgm:cxn modelId="{91050995-F8A7-4102-A036-25B7B1AACDB6}" type="presParOf" srcId="{3D1A3D19-2123-46A5-9D9F-43FB4578ECA7}" destId="{6150AC10-6F6A-4965-AE8B-A60C643FB3D8}" srcOrd="0" destOrd="0" presId="urn:microsoft.com/office/officeart/2005/8/layout/bProcess3"/>
    <dgm:cxn modelId="{24B51050-DA36-4383-BFE4-830CE31EC90D}" type="presParOf" srcId="{1B4B6972-EA18-477D-9BDF-AA864B253F95}" destId="{A001A0BC-93EE-4A51-B6C4-256D94BE5A41}" srcOrd="6" destOrd="0" presId="urn:microsoft.com/office/officeart/2005/8/layout/bProcess3"/>
    <dgm:cxn modelId="{8DC0C462-4388-4E5A-B65E-38216B623C5C}" type="presParOf" srcId="{1B4B6972-EA18-477D-9BDF-AA864B253F95}" destId="{DA31445B-A214-4FF4-A7B9-CDFBB6FD4F2E}" srcOrd="7" destOrd="0" presId="urn:microsoft.com/office/officeart/2005/8/layout/bProcess3"/>
    <dgm:cxn modelId="{1C22A5C0-7DEA-4128-8E05-EE59EC6632FD}" type="presParOf" srcId="{DA31445B-A214-4FF4-A7B9-CDFBB6FD4F2E}" destId="{6DEF602D-7695-476C-8963-6247439DDF5C}" srcOrd="0" destOrd="0" presId="urn:microsoft.com/office/officeart/2005/8/layout/bProcess3"/>
    <dgm:cxn modelId="{1C8DED9C-35F9-4337-B1CC-2B7DD3FD1C60}" type="presParOf" srcId="{1B4B6972-EA18-477D-9BDF-AA864B253F95}" destId="{8B2A05EC-1F05-41D1-9154-A6668F544AF4}" srcOrd="8" destOrd="0" presId="urn:microsoft.com/office/officeart/2005/8/layout/bProcess3"/>
    <dgm:cxn modelId="{2F8795E6-AAE2-49DB-A2E9-5659E7C979D6}" type="presParOf" srcId="{1B4B6972-EA18-477D-9BDF-AA864B253F95}" destId="{EC25565D-0F88-462E-9D81-98946FE2803E}" srcOrd="9" destOrd="0" presId="urn:microsoft.com/office/officeart/2005/8/layout/bProcess3"/>
    <dgm:cxn modelId="{A64E1322-6DDD-4DF7-AA7E-9ED8841A8E08}" type="presParOf" srcId="{EC25565D-0F88-462E-9D81-98946FE2803E}" destId="{7C7A98C2-44F2-4D96-999B-66A876E1064F}" srcOrd="0" destOrd="0" presId="urn:microsoft.com/office/officeart/2005/8/layout/bProcess3"/>
    <dgm:cxn modelId="{525448F2-A2C0-43F3-8B16-5CB6B0A4387C}" type="presParOf" srcId="{1B4B6972-EA18-477D-9BDF-AA864B253F95}" destId="{8B8522CC-54E5-4242-B473-DA05EF12C3FD}" srcOrd="10" destOrd="0" presId="urn:microsoft.com/office/officeart/2005/8/layout/bProcess3"/>
    <dgm:cxn modelId="{712D0B5A-6B34-48E1-B3B5-F4FC7C17D7AF}" type="presParOf" srcId="{1B4B6972-EA18-477D-9BDF-AA864B253F95}" destId="{86814BCE-F7D0-4C0F-BE47-E73882476AFD}" srcOrd="11" destOrd="0" presId="urn:microsoft.com/office/officeart/2005/8/layout/bProcess3"/>
    <dgm:cxn modelId="{6CC00075-C1D4-4EA8-A73C-85C4210DFDC7}" type="presParOf" srcId="{86814BCE-F7D0-4C0F-BE47-E73882476AFD}" destId="{3C879116-CF5A-4FF1-958D-EEFAC3EB2BBD}" srcOrd="0" destOrd="0" presId="urn:microsoft.com/office/officeart/2005/8/layout/bProcess3"/>
    <dgm:cxn modelId="{443872E9-C331-482F-B757-3810CB2FA076}" type="presParOf" srcId="{1B4B6972-EA18-477D-9BDF-AA864B253F95}" destId="{FD732174-AA78-46D3-A6B5-B3AD940E207F}" srcOrd="12" destOrd="0" presId="urn:microsoft.com/office/officeart/2005/8/layout/bProcess3"/>
    <dgm:cxn modelId="{8D402A56-9117-4BAE-A1B2-9B0DD754D32D}" type="presParOf" srcId="{1B4B6972-EA18-477D-9BDF-AA864B253F95}" destId="{88EB81D2-CE65-43AB-90F4-345C0367FB2D}" srcOrd="13" destOrd="0" presId="urn:microsoft.com/office/officeart/2005/8/layout/bProcess3"/>
    <dgm:cxn modelId="{CBB57149-B47A-47D0-9525-BC342E75A926}" type="presParOf" srcId="{88EB81D2-CE65-43AB-90F4-345C0367FB2D}" destId="{B7650F94-7FE2-4A65-A9F5-A0B9A71D7FFF}" srcOrd="0" destOrd="0" presId="urn:microsoft.com/office/officeart/2005/8/layout/bProcess3"/>
    <dgm:cxn modelId="{B9016D76-AB04-4D2B-A5BE-4C346BE4E045}" type="presParOf" srcId="{1B4B6972-EA18-477D-9BDF-AA864B253F95}" destId="{9472F00E-6F7D-4B88-AF36-90834AF0A63C}" srcOrd="14" destOrd="0" presId="urn:microsoft.com/office/officeart/2005/8/layout/bProcess3"/>
    <dgm:cxn modelId="{4FC47951-C1B7-4D58-A217-A53763BB6564}" type="presParOf" srcId="{1B4B6972-EA18-477D-9BDF-AA864B253F95}" destId="{CDC1AE27-1291-41FF-857E-14F952315297}" srcOrd="15" destOrd="0" presId="urn:microsoft.com/office/officeart/2005/8/layout/bProcess3"/>
    <dgm:cxn modelId="{50255FD9-AAD6-4E70-A89B-FFB701F134C7}" type="presParOf" srcId="{CDC1AE27-1291-41FF-857E-14F952315297}" destId="{A4125BE9-AF77-4C7F-B49B-321E1B30C7B4}" srcOrd="0" destOrd="0" presId="urn:microsoft.com/office/officeart/2005/8/layout/bProcess3"/>
    <dgm:cxn modelId="{F0F5264B-5AF4-4BD3-AE61-BCDF59A5D35A}" type="presParOf" srcId="{1B4B6972-EA18-477D-9BDF-AA864B253F95}" destId="{D2E3A028-18BE-4956-B8FB-C38882424BA9}" srcOrd="16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9330EE-407C-408E-BD01-D1F2CF4ADD16}">
      <dsp:nvSpPr>
        <dsp:cNvPr id="0" name=""/>
        <dsp:cNvSpPr/>
      </dsp:nvSpPr>
      <dsp:spPr>
        <a:xfrm>
          <a:off x="2920911" y="563341"/>
          <a:ext cx="434545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34545" y="45720"/>
              </a:lnTo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126555" y="606735"/>
        <a:ext cx="23257" cy="4651"/>
      </dsp:txXfrm>
    </dsp:sp>
    <dsp:sp modelId="{960AB0B3-A5F5-4030-9B86-19242F2AC9EF}">
      <dsp:nvSpPr>
        <dsp:cNvPr id="0" name=""/>
        <dsp:cNvSpPr/>
      </dsp:nvSpPr>
      <dsp:spPr>
        <a:xfrm>
          <a:off x="900340" y="2349"/>
          <a:ext cx="2022371" cy="121342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Courier New" panose="02070309020205020404" pitchFamily="49" charset="0"/>
            <a:buNone/>
          </a:pPr>
          <a:r>
            <a:rPr lang="en-US" sz="1500" kern="1200" dirty="0"/>
            <a:t>Scrape all RFP sites using the Python library BeautifulSoup.</a:t>
          </a:r>
        </a:p>
      </dsp:txBody>
      <dsp:txXfrm>
        <a:off x="900340" y="2349"/>
        <a:ext cx="2022371" cy="1213422"/>
      </dsp:txXfrm>
    </dsp:sp>
    <dsp:sp modelId="{27745039-22D6-4CFB-8B7E-2F7467B51129}">
      <dsp:nvSpPr>
        <dsp:cNvPr id="0" name=""/>
        <dsp:cNvSpPr/>
      </dsp:nvSpPr>
      <dsp:spPr>
        <a:xfrm>
          <a:off x="5408428" y="563341"/>
          <a:ext cx="434545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34545" y="45720"/>
              </a:lnTo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614072" y="606735"/>
        <a:ext cx="23257" cy="4651"/>
      </dsp:txXfrm>
    </dsp:sp>
    <dsp:sp modelId="{A1C57144-956C-40F8-A224-C4597312C669}">
      <dsp:nvSpPr>
        <dsp:cNvPr id="0" name=""/>
        <dsp:cNvSpPr/>
      </dsp:nvSpPr>
      <dsp:spPr>
        <a:xfrm>
          <a:off x="3387857" y="2349"/>
          <a:ext cx="2022371" cy="121342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Courier New" panose="02070309020205020404" pitchFamily="49" charset="0"/>
            <a:buNone/>
          </a:pPr>
          <a:r>
            <a:rPr lang="en-US" sz="1500" kern="1200" dirty="0"/>
            <a:t>Insert this data into a raw SQL table.</a:t>
          </a:r>
        </a:p>
      </dsp:txBody>
      <dsp:txXfrm>
        <a:off x="3387857" y="2349"/>
        <a:ext cx="2022371" cy="1213422"/>
      </dsp:txXfrm>
    </dsp:sp>
    <dsp:sp modelId="{3D1A3D19-2123-46A5-9D9F-43FB4578ECA7}">
      <dsp:nvSpPr>
        <dsp:cNvPr id="0" name=""/>
        <dsp:cNvSpPr/>
      </dsp:nvSpPr>
      <dsp:spPr>
        <a:xfrm>
          <a:off x="1918867" y="1213972"/>
          <a:ext cx="4967691" cy="320273"/>
        </a:xfrm>
        <a:custGeom>
          <a:avLst/>
          <a:gdLst/>
          <a:ahLst/>
          <a:cxnLst/>
          <a:rect l="0" t="0" r="0" b="0"/>
          <a:pathLst>
            <a:path>
              <a:moveTo>
                <a:pt x="4967691" y="0"/>
              </a:moveTo>
              <a:lnTo>
                <a:pt x="4967691" y="177236"/>
              </a:lnTo>
              <a:lnTo>
                <a:pt x="0" y="177236"/>
              </a:lnTo>
              <a:lnTo>
                <a:pt x="0" y="320273"/>
              </a:lnTo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278211" y="1371783"/>
        <a:ext cx="249003" cy="4651"/>
      </dsp:txXfrm>
    </dsp:sp>
    <dsp:sp modelId="{4385BE4A-3DDC-4B1F-9139-2F157505D26E}">
      <dsp:nvSpPr>
        <dsp:cNvPr id="0" name=""/>
        <dsp:cNvSpPr/>
      </dsp:nvSpPr>
      <dsp:spPr>
        <a:xfrm>
          <a:off x="5875373" y="2349"/>
          <a:ext cx="2022371" cy="121342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Courier New" panose="02070309020205020404" pitchFamily="49" charset="0"/>
            <a:buNone/>
          </a:pPr>
          <a:r>
            <a:rPr lang="en-US" sz="1500" kern="1200" dirty="0"/>
            <a:t>Scrape all event sites using their API through python.</a:t>
          </a:r>
        </a:p>
      </dsp:txBody>
      <dsp:txXfrm>
        <a:off x="5875373" y="2349"/>
        <a:ext cx="2022371" cy="1213422"/>
      </dsp:txXfrm>
    </dsp:sp>
    <dsp:sp modelId="{DA31445B-A214-4FF4-A7B9-CDFBB6FD4F2E}">
      <dsp:nvSpPr>
        <dsp:cNvPr id="0" name=""/>
        <dsp:cNvSpPr/>
      </dsp:nvSpPr>
      <dsp:spPr>
        <a:xfrm>
          <a:off x="2928253" y="2127636"/>
          <a:ext cx="47606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55132" y="45720"/>
              </a:lnTo>
              <a:lnTo>
                <a:pt x="255132" y="45724"/>
              </a:lnTo>
              <a:lnTo>
                <a:pt x="476064" y="45724"/>
              </a:lnTo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153618" y="2171031"/>
        <a:ext cx="25333" cy="4651"/>
      </dsp:txXfrm>
    </dsp:sp>
    <dsp:sp modelId="{A001A0BC-93EE-4A51-B6C4-256D94BE5A41}">
      <dsp:nvSpPr>
        <dsp:cNvPr id="0" name=""/>
        <dsp:cNvSpPr/>
      </dsp:nvSpPr>
      <dsp:spPr>
        <a:xfrm>
          <a:off x="907682" y="1566645"/>
          <a:ext cx="2022371" cy="121342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Courier New" panose="02070309020205020404" pitchFamily="49" charset="0"/>
            <a:buNone/>
          </a:pPr>
          <a:r>
            <a:rPr lang="en-US" sz="1500" kern="1200" dirty="0"/>
            <a:t>Insert this data into a raw SQL table.</a:t>
          </a:r>
        </a:p>
      </dsp:txBody>
      <dsp:txXfrm>
        <a:off x="907682" y="1566645"/>
        <a:ext cx="2022371" cy="1213422"/>
      </dsp:txXfrm>
    </dsp:sp>
    <dsp:sp modelId="{EC25565D-0F88-462E-9D81-98946FE2803E}">
      <dsp:nvSpPr>
        <dsp:cNvPr id="0" name=""/>
        <dsp:cNvSpPr/>
      </dsp:nvSpPr>
      <dsp:spPr>
        <a:xfrm>
          <a:off x="5457288" y="2127640"/>
          <a:ext cx="42455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24554" y="45720"/>
              </a:lnTo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658187" y="2171035"/>
        <a:ext cx="22757" cy="4651"/>
      </dsp:txXfrm>
    </dsp:sp>
    <dsp:sp modelId="{8B2A05EC-1F05-41D1-9154-A6668F544AF4}">
      <dsp:nvSpPr>
        <dsp:cNvPr id="0" name=""/>
        <dsp:cNvSpPr/>
      </dsp:nvSpPr>
      <dsp:spPr>
        <a:xfrm>
          <a:off x="3436717" y="1566649"/>
          <a:ext cx="2022371" cy="121342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Courier New" panose="02070309020205020404" pitchFamily="49" charset="0"/>
            <a:buNone/>
          </a:pPr>
          <a:r>
            <a:rPr lang="en-US" sz="1500" kern="1200" dirty="0"/>
            <a:t>Clean the individual tables using SQL queries.</a:t>
          </a:r>
        </a:p>
      </dsp:txBody>
      <dsp:txXfrm>
        <a:off x="3436717" y="1566649"/>
        <a:ext cx="2022371" cy="1213422"/>
      </dsp:txXfrm>
    </dsp:sp>
    <dsp:sp modelId="{86814BCE-F7D0-4C0F-BE47-E73882476AFD}">
      <dsp:nvSpPr>
        <dsp:cNvPr id="0" name=""/>
        <dsp:cNvSpPr/>
      </dsp:nvSpPr>
      <dsp:spPr>
        <a:xfrm>
          <a:off x="1929141" y="2778272"/>
          <a:ext cx="4996287" cy="302581"/>
        </a:xfrm>
        <a:custGeom>
          <a:avLst/>
          <a:gdLst/>
          <a:ahLst/>
          <a:cxnLst/>
          <a:rect l="0" t="0" r="0" b="0"/>
          <a:pathLst>
            <a:path>
              <a:moveTo>
                <a:pt x="4996287" y="0"/>
              </a:moveTo>
              <a:lnTo>
                <a:pt x="4996287" y="168390"/>
              </a:lnTo>
              <a:lnTo>
                <a:pt x="0" y="168390"/>
              </a:lnTo>
              <a:lnTo>
                <a:pt x="0" y="302581"/>
              </a:lnTo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302100" y="2927237"/>
        <a:ext cx="250369" cy="4651"/>
      </dsp:txXfrm>
    </dsp:sp>
    <dsp:sp modelId="{8B8522CC-54E5-4242-B473-DA05EF12C3FD}">
      <dsp:nvSpPr>
        <dsp:cNvPr id="0" name=""/>
        <dsp:cNvSpPr/>
      </dsp:nvSpPr>
      <dsp:spPr>
        <a:xfrm>
          <a:off x="5914243" y="1566649"/>
          <a:ext cx="2022371" cy="121342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Courier New" panose="02070309020205020404" pitchFamily="49" charset="0"/>
            <a:buNone/>
          </a:pPr>
          <a:r>
            <a:rPr lang="en-US" sz="1500" kern="1200"/>
            <a:t>Insert all individual sites into master table and current table.</a:t>
          </a:r>
          <a:endParaRPr lang="en-US" sz="1500" kern="1200" dirty="0"/>
        </a:p>
      </dsp:txBody>
      <dsp:txXfrm>
        <a:off x="5914243" y="1566649"/>
        <a:ext cx="2022371" cy="1213422"/>
      </dsp:txXfrm>
    </dsp:sp>
    <dsp:sp modelId="{88EB81D2-CE65-43AB-90F4-345C0367FB2D}">
      <dsp:nvSpPr>
        <dsp:cNvPr id="0" name=""/>
        <dsp:cNvSpPr/>
      </dsp:nvSpPr>
      <dsp:spPr>
        <a:xfrm>
          <a:off x="2938526" y="3674245"/>
          <a:ext cx="48484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59520" y="45720"/>
              </a:lnTo>
              <a:lnTo>
                <a:pt x="259520" y="47976"/>
              </a:lnTo>
              <a:lnTo>
                <a:pt x="484841" y="47976"/>
              </a:lnTo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168061" y="3717639"/>
        <a:ext cx="25772" cy="4651"/>
      </dsp:txXfrm>
    </dsp:sp>
    <dsp:sp modelId="{FD732174-AA78-46D3-A6B5-B3AD940E207F}">
      <dsp:nvSpPr>
        <dsp:cNvPr id="0" name=""/>
        <dsp:cNvSpPr/>
      </dsp:nvSpPr>
      <dsp:spPr>
        <a:xfrm>
          <a:off x="917955" y="3113253"/>
          <a:ext cx="2022371" cy="121342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Courier New" panose="02070309020205020404" pitchFamily="49" charset="0"/>
            <a:buNone/>
          </a:pPr>
          <a:r>
            <a:rPr lang="en-US" sz="1500" kern="1200"/>
            <a:t>Using Pandas take SQL queries and insert the data in data frame.</a:t>
          </a:r>
          <a:endParaRPr lang="en-US" sz="1500" kern="1200" dirty="0"/>
        </a:p>
      </dsp:txBody>
      <dsp:txXfrm>
        <a:off x="917955" y="3113253"/>
        <a:ext cx="2022371" cy="1213422"/>
      </dsp:txXfrm>
    </dsp:sp>
    <dsp:sp modelId="{CDC1AE27-1291-41FF-857E-14F952315297}">
      <dsp:nvSpPr>
        <dsp:cNvPr id="0" name=""/>
        <dsp:cNvSpPr/>
      </dsp:nvSpPr>
      <dsp:spPr>
        <a:xfrm>
          <a:off x="5476339" y="3674613"/>
          <a:ext cx="38716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7608"/>
              </a:moveTo>
              <a:lnTo>
                <a:pt x="210680" y="47608"/>
              </a:lnTo>
              <a:lnTo>
                <a:pt x="210680" y="45720"/>
              </a:lnTo>
              <a:lnTo>
                <a:pt x="387161" y="45720"/>
              </a:lnTo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659476" y="3718007"/>
        <a:ext cx="20888" cy="4651"/>
      </dsp:txXfrm>
    </dsp:sp>
    <dsp:sp modelId="{9472F00E-6F7D-4B88-AF36-90834AF0A63C}">
      <dsp:nvSpPr>
        <dsp:cNvPr id="0" name=""/>
        <dsp:cNvSpPr/>
      </dsp:nvSpPr>
      <dsp:spPr>
        <a:xfrm>
          <a:off x="3455768" y="3115510"/>
          <a:ext cx="2022371" cy="121342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Courier New" panose="02070309020205020404" pitchFamily="49" charset="0"/>
            <a:buNone/>
          </a:pPr>
          <a:r>
            <a:rPr lang="en-US" sz="1500" kern="1200"/>
            <a:t>Export the data frames into excel sheets.</a:t>
          </a:r>
          <a:endParaRPr lang="en-US" sz="1500" kern="1200" dirty="0"/>
        </a:p>
      </dsp:txBody>
      <dsp:txXfrm>
        <a:off x="3455768" y="3115510"/>
        <a:ext cx="2022371" cy="1213422"/>
      </dsp:txXfrm>
    </dsp:sp>
    <dsp:sp modelId="{D2E3A028-18BE-4956-B8FB-C38882424BA9}">
      <dsp:nvSpPr>
        <dsp:cNvPr id="0" name=""/>
        <dsp:cNvSpPr/>
      </dsp:nvSpPr>
      <dsp:spPr>
        <a:xfrm>
          <a:off x="5895900" y="3113621"/>
          <a:ext cx="2022371" cy="121342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Courier New" panose="02070309020205020404" pitchFamily="49" charset="0"/>
            <a:buNone/>
          </a:pPr>
          <a:r>
            <a:rPr lang="en-US" sz="1500" kern="1200"/>
            <a:t>Attach the excel sheet and email the team the results using Yagmail and HMTL.</a:t>
          </a:r>
          <a:endParaRPr lang="en-US" sz="1500" kern="1200" dirty="0"/>
        </a:p>
      </dsp:txBody>
      <dsp:txXfrm>
        <a:off x="5895900" y="3113621"/>
        <a:ext cx="2022371" cy="121342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0A50CF-4D54-4331-A73E-AF8596C64AD3}" type="datetimeFigureOut">
              <a:rPr lang="en-US" smtClean="0"/>
              <a:t>7/2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117599-CF49-44E6-8FC3-30F31F302F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448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1.xml"/><Relationship Id="rId7" Type="http://schemas.openxmlformats.org/officeDocument/2006/relationships/image" Target="file://localhost/Users/cwatson/Dropbox/A&amp;M%20Transfer/A&amp;M_LOGOS/A&amp;M%20Corporate/WEB/PNG/A&amp;M_Corporate_all%20white.png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15681" y="582923"/>
            <a:ext cx="10979572" cy="7243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52"/>
          <p:cNvSpPr>
            <a:spLocks noGrp="1"/>
          </p:cNvSpPr>
          <p:nvPr>
            <p:ph type="body" sz="quarter" idx="34" hasCustomPrompt="1"/>
          </p:nvPr>
        </p:nvSpPr>
        <p:spPr>
          <a:xfrm>
            <a:off x="615681" y="1463926"/>
            <a:ext cx="10979572" cy="3357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82" b="0" i="0" kern="800" spc="0" baseline="0">
                <a:solidFill>
                  <a:schemeClr val="accent3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Subtitle to slide goes her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15681" y="1926523"/>
            <a:ext cx="10979572" cy="144066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37178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4" y="1446"/>
          <a:ext cx="1810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4" imgW="287" imgH="287" progId="TCLayout.ActiveDocument.1">
                  <p:embed/>
                </p:oleObj>
              </mc:Choice>
              <mc:Fallback>
                <p:oleObj name="think-cell Slide" r:id="rId4" imgW="287" imgH="28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4" y="1446"/>
                        <a:ext cx="1810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3" y="-2"/>
            <a:ext cx="12190404" cy="6856855"/>
          </a:xfrm>
          <a:solidFill>
            <a:srgbClr val="D9D9D9"/>
          </a:solidFill>
        </p:spPr>
        <p:txBody>
          <a:bodyPr lIns="72000" tIns="72000" rIns="72000" bIns="72000">
            <a:noAutofit/>
          </a:bodyPr>
          <a:lstStyle>
            <a:lvl1pPr algn="ctr">
              <a:defRPr sz="1824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802" y="2449183"/>
            <a:ext cx="12190404" cy="783884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0" rIns="720000" bIns="0" rtlCol="0" anchor="ctr">
            <a:noAutofit/>
          </a:bodyPr>
          <a:lstStyle>
            <a:lvl1pPr marL="0" indent="0">
              <a:spcAft>
                <a:spcPts val="341"/>
              </a:spcAft>
              <a:buFont typeface="Arial" panose="020B0604020202020204" pitchFamily="34" charset="0"/>
              <a:buNone/>
              <a:defRPr lang="en-US" sz="1824" b="1" spc="0" baseline="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buFont typeface="Arial" panose="020B0604020202020204" pitchFamily="34" charset="0"/>
              <a:buNone/>
              <a:defRPr lang="en-US" sz="1596" b="0" dirty="0" smtClean="0">
                <a:solidFill>
                  <a:schemeClr val="lt1"/>
                </a:solidFill>
              </a:defRPr>
            </a:lvl2pPr>
            <a:lvl3pPr marL="798216" indent="0">
              <a:buFont typeface="Arial" panose="020B0604020202020204" pitchFamily="34" charset="0"/>
              <a:buNone/>
              <a:defRPr lang="en-US" sz="2394" dirty="0" smtClean="0">
                <a:solidFill>
                  <a:schemeClr val="lt1"/>
                </a:solidFill>
              </a:defRPr>
            </a:lvl3pPr>
            <a:lvl4pPr marL="1575581" indent="0">
              <a:buNone/>
              <a:defRPr lang="en-US" sz="2394" dirty="0" smtClean="0">
                <a:solidFill>
                  <a:schemeClr val="lt1"/>
                </a:solidFill>
              </a:defRPr>
            </a:lvl4pPr>
            <a:lvl5pPr marL="2177392" indent="0">
              <a:buNone/>
              <a:defRPr lang="en-GB" sz="2394" dirty="0">
                <a:solidFill>
                  <a:schemeClr val="lt1"/>
                </a:solidFill>
              </a:defRPr>
            </a:lvl5pPr>
          </a:lstStyle>
          <a:p>
            <a:pPr lvl="0">
              <a:lnSpc>
                <a:spcPct val="90000"/>
              </a:lnSpc>
            </a:pPr>
            <a:r>
              <a:rPr lang="en-US" dirty="0"/>
              <a:t>Name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Month Day, Year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r:link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006" y="5548441"/>
            <a:ext cx="1531517" cy="10765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2858" y="2754207"/>
            <a:ext cx="2723664" cy="17383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5677" y="1097700"/>
            <a:ext cx="10363200" cy="1470026"/>
          </a:xfrm>
          <a:prstGeom prst="rect">
            <a:avLst/>
          </a:prstGeom>
        </p:spPr>
        <p:txBody>
          <a:bodyPr/>
          <a:lstStyle>
            <a:lvl1pPr>
              <a:defRPr lang="en-GB" sz="6383" b="1" kern="1200" spc="0" baseline="0" dirty="0">
                <a:solidFill>
                  <a:schemeClr val="bg1"/>
                </a:solidFill>
                <a:latin typeface="+mj-lt"/>
                <a:ea typeface="Arial Bold" charset="0"/>
                <a:cs typeface="Arial Bold" charset="0"/>
              </a:defRPr>
            </a:lvl1pPr>
          </a:lstStyle>
          <a:p>
            <a:r>
              <a:rPr lang="en-US" noProof="0" dirty="0"/>
              <a:t>Document title</a:t>
            </a:r>
          </a:p>
        </p:txBody>
      </p:sp>
    </p:spTree>
    <p:extLst>
      <p:ext uri="{BB962C8B-B14F-4D97-AF65-F5344CB8AC3E}">
        <p14:creationId xmlns:p14="http://schemas.microsoft.com/office/powerpoint/2010/main" val="23118941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0">
            <a:extLst>
              <a:ext uri="{FF2B5EF4-FFF2-40B4-BE49-F238E27FC236}">
                <a16:creationId xmlns:a16="http://schemas.microsoft.com/office/drawing/2014/main" id="{70DFC94B-3B70-4650-8421-3535AD6A8D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021" y="6350915"/>
            <a:ext cx="5013178" cy="140390"/>
          </a:xfrm>
        </p:spPr>
        <p:txBody>
          <a:bodyPr/>
          <a:lstStyle>
            <a:lvl1pPr>
              <a:defRPr sz="907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651920C-492A-4BB6-8D79-CFD72C8C5F4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7021" y="5958107"/>
            <a:ext cx="5013178" cy="140390"/>
          </a:xfrm>
        </p:spPr>
        <p:txBody>
          <a:bodyPr anchor="b"/>
          <a:lstStyle>
            <a:lvl1pPr>
              <a:defRPr sz="907" b="0">
                <a:solidFill>
                  <a:schemeClr val="tx1"/>
                </a:solidFill>
              </a:defRPr>
            </a:lvl1pPr>
            <a:lvl2pPr>
              <a:defRPr sz="857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8A8F2C9-DC9E-441A-931E-F5257ACF3F6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97021" y="5740842"/>
            <a:ext cx="5013178" cy="140390"/>
          </a:xfrm>
        </p:spPr>
        <p:txBody>
          <a:bodyPr anchor="b"/>
          <a:lstStyle>
            <a:lvl1pPr marL="206323" indent="0">
              <a:defRPr sz="907" b="0">
                <a:solidFill>
                  <a:schemeClr val="tx1"/>
                </a:solidFill>
              </a:defRPr>
            </a:lvl1pPr>
            <a:lvl2pPr>
              <a:defRPr sz="857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F0FF618-5975-4A75-8D1A-61ED76FE59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97021" y="5620833"/>
            <a:ext cx="5013178" cy="140390"/>
          </a:xfrm>
        </p:spPr>
        <p:txBody>
          <a:bodyPr anchor="b"/>
          <a:lstStyle>
            <a:lvl1pPr>
              <a:defRPr sz="907" b="0">
                <a:solidFill>
                  <a:schemeClr val="tx1"/>
                </a:solidFill>
              </a:defRPr>
            </a:lvl1pPr>
            <a:lvl2pPr>
              <a:defRPr sz="857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621362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/>
          <p:cNvSpPr>
            <a:spLocks noGrp="1"/>
          </p:cNvSpPr>
          <p:nvPr>
            <p:ph type="body" idx="1"/>
          </p:nvPr>
        </p:nvSpPr>
        <p:spPr>
          <a:xfrm>
            <a:off x="594594" y="1925119"/>
            <a:ext cx="10991971" cy="2888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Heading 1</a:t>
            </a:r>
          </a:p>
          <a:p>
            <a:pPr lvl="1"/>
            <a:r>
              <a:rPr lang="en-US" dirty="0"/>
              <a:t>Heading 2</a:t>
            </a:r>
          </a:p>
          <a:p>
            <a:pPr lvl="2"/>
            <a:r>
              <a:rPr lang="en-US" dirty="0"/>
              <a:t>Body text</a:t>
            </a:r>
          </a:p>
          <a:p>
            <a:pPr lvl="3"/>
            <a:r>
              <a:rPr lang="en-US" dirty="0"/>
              <a:t>Bullet 1</a:t>
            </a:r>
          </a:p>
          <a:p>
            <a:pPr lvl="4"/>
            <a:r>
              <a:rPr lang="en-US" dirty="0"/>
              <a:t>Bullet 2</a:t>
            </a:r>
          </a:p>
          <a:p>
            <a:pPr lvl="5"/>
            <a:r>
              <a:rPr lang="en-US" dirty="0"/>
              <a:t>Bullet 3</a:t>
            </a:r>
          </a:p>
          <a:p>
            <a:pPr lvl="6"/>
            <a:r>
              <a:rPr lang="en-US" dirty="0"/>
              <a:t>Bullet 4</a:t>
            </a:r>
          </a:p>
          <a:p>
            <a:pPr lvl="7"/>
            <a:r>
              <a:rPr lang="en-US" dirty="0"/>
              <a:t>Number 1</a:t>
            </a:r>
          </a:p>
          <a:p>
            <a:pPr lvl="8"/>
            <a:r>
              <a:rPr lang="en-US" dirty="0"/>
              <a:t>Number 2</a:t>
            </a:r>
          </a:p>
        </p:txBody>
      </p:sp>
      <p:sp>
        <p:nvSpPr>
          <p:cNvPr id="28" name="Title Placeholder 27"/>
          <p:cNvSpPr>
            <a:spLocks noGrp="1"/>
          </p:cNvSpPr>
          <p:nvPr>
            <p:ph type="title"/>
          </p:nvPr>
        </p:nvSpPr>
        <p:spPr>
          <a:xfrm>
            <a:off x="594595" y="582923"/>
            <a:ext cx="11000659" cy="72432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Slide title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615678" y="1400638"/>
            <a:ext cx="10978129" cy="1"/>
            <a:chOff x="534549" y="1544262"/>
            <a:chExt cx="9628733" cy="1"/>
          </a:xfrm>
        </p:grpSpPr>
        <p:cxnSp>
          <p:nvCxnSpPr>
            <p:cNvPr id="19" name="Straight Connector 18"/>
            <p:cNvCxnSpPr/>
            <p:nvPr userDrawn="1"/>
          </p:nvCxnSpPr>
          <p:spPr>
            <a:xfrm>
              <a:off x="534549" y="1544262"/>
              <a:ext cx="9628733" cy="0"/>
            </a:xfrm>
            <a:prstGeom prst="line">
              <a:avLst/>
            </a:prstGeom>
            <a:ln w="50800">
              <a:solidFill>
                <a:schemeClr val="accent3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534549" y="1544263"/>
              <a:ext cx="2503238" cy="0"/>
            </a:xfrm>
            <a:prstGeom prst="line">
              <a:avLst/>
            </a:prstGeom>
            <a:ln w="508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Rectangle 33"/>
          <p:cNvSpPr/>
          <p:nvPr userDrawn="1"/>
        </p:nvSpPr>
        <p:spPr>
          <a:xfrm flipH="1">
            <a:off x="-2" y="1480730"/>
            <a:ext cx="196363" cy="45105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2353" tIns="21176" rIns="42353" bIns="21176" rtlCol="0" anchor="ctr"/>
          <a:lstStyle/>
          <a:p>
            <a:pPr algn="ctr"/>
            <a:endParaRPr lang="en-US" sz="734" b="1" dirty="0">
              <a:solidFill>
                <a:srgbClr val="2C9398"/>
              </a:solidFill>
              <a:latin typeface="Impact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5900055" y="6499587"/>
            <a:ext cx="410818" cy="1678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fld id="{D88576D6-29B7-49AB-B70B-CBD69FC026C8}" type="slidenum">
              <a:rPr lang="en-US" sz="1091" smtClean="0"/>
              <a:pPr algn="ctr"/>
              <a:t>‹#›</a:t>
            </a:fld>
            <a:endParaRPr lang="en-US" sz="1091" dirty="0"/>
          </a:p>
        </p:txBody>
      </p:sp>
      <p:sp>
        <p:nvSpPr>
          <p:cNvPr id="2" name="TextBox 15"/>
          <p:cNvSpPr txBox="1"/>
          <p:nvPr userDrawn="1"/>
        </p:nvSpPr>
        <p:spPr>
          <a:xfrm>
            <a:off x="615678" y="6478333"/>
            <a:ext cx="4694780" cy="1678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l"/>
            <a:r>
              <a:rPr lang="en-US" sz="1091" dirty="0"/>
              <a:t>Analytics | August 02, 2018</a:t>
            </a:r>
          </a:p>
        </p:txBody>
      </p:sp>
      <p:pic>
        <p:nvPicPr>
          <p:cNvPr id="17" name="A&amp;M Tax full logo blue" hidden="1">
            <a:extLst>
              <a:ext uri="{FF2B5EF4-FFF2-40B4-BE49-F238E27FC236}">
                <a16:creationId xmlns:a16="http://schemas.microsoft.com/office/drawing/2014/main" id="{B3A23AB6-BC7D-41AB-8FC8-BABE683D6E4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710296" y="6371253"/>
            <a:ext cx="1596048" cy="260874"/>
          </a:xfrm>
          <a:prstGeom prst="rect">
            <a:avLst/>
          </a:prstGeom>
        </p:spPr>
      </p:pic>
      <p:pic>
        <p:nvPicPr>
          <p:cNvPr id="18" name="A&amp;M standard full logo white" hidden="1">
            <a:extLst>
              <a:ext uri="{FF2B5EF4-FFF2-40B4-BE49-F238E27FC236}">
                <a16:creationId xmlns:a16="http://schemas.microsoft.com/office/drawing/2014/main" id="{E5903B89-FCFB-489A-8F04-634BA4986DA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413968" y="6496733"/>
            <a:ext cx="2183481" cy="126402"/>
          </a:xfrm>
          <a:prstGeom prst="rect">
            <a:avLst/>
          </a:prstGeom>
        </p:spPr>
      </p:pic>
      <p:pic>
        <p:nvPicPr>
          <p:cNvPr id="21" name="A&amp;M Tax full logo white" hidden="1">
            <a:extLst>
              <a:ext uri="{FF2B5EF4-FFF2-40B4-BE49-F238E27FC236}">
                <a16:creationId xmlns:a16="http://schemas.microsoft.com/office/drawing/2014/main" id="{A082774A-216A-4652-A539-027D4A0BCC4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710296" y="6371253"/>
            <a:ext cx="1596048" cy="260874"/>
          </a:xfrm>
          <a:prstGeom prst="rect">
            <a:avLst/>
          </a:prstGeom>
        </p:spPr>
      </p:pic>
      <p:pic>
        <p:nvPicPr>
          <p:cNvPr id="22" name="A&amp;M standard full logo blue">
            <a:extLst>
              <a:ext uri="{FF2B5EF4-FFF2-40B4-BE49-F238E27FC236}">
                <a16:creationId xmlns:a16="http://schemas.microsoft.com/office/drawing/2014/main" id="{D29B66C9-8DB9-4EDD-9C49-37BF701D6D5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413968" y="6496733"/>
            <a:ext cx="2183481" cy="126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664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04" r:id="rId2"/>
    <p:sldLayoutId id="2147483785" r:id="rId3"/>
  </p:sldLayoutIdLst>
  <p:hf hdr="0" ftr="0" dt="0"/>
  <p:txStyles>
    <p:titleStyle>
      <a:lvl1pPr marL="0" algn="l" defTabSz="1347622" rtl="0" eaLnBrk="1" latinLnBrk="0" hangingPunct="1">
        <a:spcBef>
          <a:spcPct val="0"/>
        </a:spcBef>
        <a:buNone/>
        <a:defRPr lang="en-GB" sz="3846" kern="1200" dirty="0" smtClean="0">
          <a:solidFill>
            <a:schemeClr val="accent3"/>
          </a:solidFill>
          <a:latin typeface="+mj-lt"/>
          <a:ea typeface="+mn-ea"/>
          <a:cs typeface="Arial" panose="020B0604020202020204" pitchFamily="34" charset="0"/>
        </a:defRPr>
      </a:lvl1pPr>
    </p:titleStyle>
    <p:bodyStyle>
      <a:lvl1pPr marL="0" indent="0" algn="l" defTabSz="1347622" rtl="0" eaLnBrk="1" latinLnBrk="0" hangingPunct="1">
        <a:spcBef>
          <a:spcPts val="0"/>
        </a:spcBef>
        <a:spcAft>
          <a:spcPts val="1099"/>
        </a:spcAft>
        <a:buFont typeface="Arial" panose="020B0604020202020204" pitchFamily="34" charset="0"/>
        <a:buNone/>
        <a:defRPr sz="1923" b="1" kern="1200">
          <a:solidFill>
            <a:schemeClr val="accent3"/>
          </a:solidFill>
          <a:latin typeface="+mj-lt"/>
          <a:ea typeface="+mn-ea"/>
          <a:cs typeface="+mn-cs"/>
        </a:defRPr>
      </a:lvl1pPr>
      <a:lvl2pPr marL="0" indent="0" algn="l" defTabSz="1347622" rtl="0" eaLnBrk="1" latinLnBrk="0" hangingPunct="1">
        <a:spcBef>
          <a:spcPts val="0"/>
        </a:spcBef>
        <a:spcAft>
          <a:spcPts val="824"/>
        </a:spcAft>
        <a:buFont typeface="Arial" panose="020B0604020202020204" pitchFamily="34" charset="0"/>
        <a:buNone/>
        <a:defRPr sz="1648" b="1" kern="1200" cap="none" baseline="0">
          <a:solidFill>
            <a:schemeClr val="tx1"/>
          </a:solidFill>
          <a:latin typeface="+mj-lt"/>
          <a:ea typeface="+mn-ea"/>
          <a:cs typeface="+mn-cs"/>
        </a:defRPr>
      </a:lvl2pPr>
      <a:lvl3pPr marL="2052" indent="0" algn="l" defTabSz="1347622" rtl="0" eaLnBrk="1" latinLnBrk="0" hangingPunct="1">
        <a:spcBef>
          <a:spcPts val="0"/>
        </a:spcBef>
        <a:spcAft>
          <a:spcPts val="824"/>
        </a:spcAft>
        <a:buFont typeface="Arial" panose="020B0604020202020204" pitchFamily="34" charset="0"/>
        <a:buNone/>
        <a:defRPr sz="1374" kern="1200">
          <a:solidFill>
            <a:schemeClr val="tx1"/>
          </a:solidFill>
          <a:latin typeface="+mn-lt"/>
          <a:ea typeface="+mn-ea"/>
          <a:cs typeface="+mn-cs"/>
        </a:defRPr>
      </a:lvl3pPr>
      <a:lvl4pPr marL="252189" indent="-252189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Wingdings" panose="05000000000000000000" pitchFamily="2" charset="2"/>
        <a:buChar char="§"/>
        <a:defRPr sz="1374" kern="1200">
          <a:solidFill>
            <a:schemeClr val="tx1"/>
          </a:solidFill>
          <a:latin typeface="+mn-lt"/>
          <a:ea typeface="+mn-ea"/>
          <a:cs typeface="+mn-cs"/>
        </a:defRPr>
      </a:lvl4pPr>
      <a:lvl5pPr marL="494491" indent="-242300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Segoe UI" panose="020B0502040204020203" pitchFamily="34" charset="0"/>
        <a:buChar char="–"/>
        <a:defRPr sz="1374" kern="1200">
          <a:solidFill>
            <a:schemeClr val="tx1"/>
          </a:solidFill>
          <a:latin typeface="+mn-lt"/>
          <a:ea typeface="+mn-ea"/>
          <a:cs typeface="+mn-cs"/>
        </a:defRPr>
      </a:lvl5pPr>
      <a:lvl6pPr marL="741393" indent="-250766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Arial" panose="020B0604020202020204" pitchFamily="34" charset="0"/>
        <a:buChar char="–"/>
        <a:defRPr sz="1374" kern="1200">
          <a:solidFill>
            <a:schemeClr val="tx1"/>
          </a:solidFill>
          <a:latin typeface="+mn-lt"/>
          <a:ea typeface="+mn-ea"/>
          <a:cs typeface="+mn-cs"/>
        </a:defRPr>
      </a:lvl6pPr>
      <a:lvl7pPr marL="992158" indent="-250766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Arial" panose="020B0604020202020204" pitchFamily="34" charset="0"/>
        <a:buChar char="–"/>
        <a:defRPr sz="1374" kern="1200">
          <a:solidFill>
            <a:schemeClr val="tx1"/>
          </a:solidFill>
          <a:latin typeface="+mn-lt"/>
          <a:ea typeface="+mn-ea"/>
          <a:cs typeface="+mn-cs"/>
        </a:defRPr>
      </a:lvl7pPr>
      <a:lvl8pPr marL="250766" indent="-250766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+mj-lt"/>
        <a:buAutoNum type="arabicPeriod"/>
        <a:defRPr sz="1374" kern="1200">
          <a:solidFill>
            <a:schemeClr val="tx1"/>
          </a:solidFill>
          <a:latin typeface="+mn-lt"/>
          <a:ea typeface="+mn-ea"/>
          <a:cs typeface="+mn-cs"/>
        </a:defRPr>
      </a:lvl8pPr>
      <a:lvl9pPr marL="488447" indent="-237682" algn="l" defTabSz="1347622" rtl="0" eaLnBrk="1" latinLnBrk="0" hangingPunct="1">
        <a:spcBef>
          <a:spcPts val="0"/>
        </a:spcBef>
        <a:spcAft>
          <a:spcPts val="824"/>
        </a:spcAft>
        <a:buClr>
          <a:schemeClr val="tx1"/>
        </a:buClr>
        <a:buFont typeface="+mj-lt"/>
        <a:buAutoNum type="alphaLcPeriod"/>
        <a:defRPr sz="137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1pPr>
      <a:lvl2pPr marL="673811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2pPr>
      <a:lvl3pPr marL="1347622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3pPr>
      <a:lvl4pPr marL="2021434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4pPr>
      <a:lvl5pPr marL="2695245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5pPr>
      <a:lvl6pPr marL="3369054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6pPr>
      <a:lvl7pPr marL="4042865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7pPr>
      <a:lvl8pPr marL="4716677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8pPr>
      <a:lvl9pPr marL="5390488" algn="l" defTabSz="1347622" rtl="0" eaLnBrk="1" latinLnBrk="0" hangingPunct="1">
        <a:defRPr sz="27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9" userDrawn="1">
          <p15:clr>
            <a:srgbClr val="F26B43"/>
          </p15:clr>
        </p15:guide>
        <p15:guide id="2" pos="374" userDrawn="1">
          <p15:clr>
            <a:srgbClr val="F26B43"/>
          </p15:clr>
        </p15:guide>
        <p15:guide id="3" pos="7306" userDrawn="1">
          <p15:clr>
            <a:srgbClr val="F26B43"/>
          </p15:clr>
        </p15:guide>
        <p15:guide id="4" orient="horz" pos="3921" userDrawn="1">
          <p15:clr>
            <a:srgbClr val="F26B43"/>
          </p15:clr>
        </p15:guide>
        <p15:guide id="6" pos="3736" userDrawn="1">
          <p15:clr>
            <a:srgbClr val="F26B43"/>
          </p15:clr>
        </p15:guide>
        <p15:guide id="7" pos="3944" userDrawn="1">
          <p15:clr>
            <a:srgbClr val="F26B43"/>
          </p15:clr>
        </p15:guide>
        <p15:guide id="8" orient="horz" pos="1199" userDrawn="1">
          <p15:clr>
            <a:srgbClr val="F26B43"/>
          </p15:clr>
        </p15:guide>
        <p15:guide id="9" orient="horz" pos="359" userDrawn="1">
          <p15:clr>
            <a:srgbClr val="F26B43"/>
          </p15:clr>
        </p15:guide>
        <p15:guide id="10" orient="horz" pos="416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Relationship Id="rId5" Type="http://schemas.openxmlformats.org/officeDocument/2006/relationships/image" Target="file://localhost/Users/cwatson/Dropbox/A&amp;M%20Transfer/A&amp;M_LOGOS/A&amp;M%20Corporate/WEB/PNG/A&amp;M_Corporate_all%20white.png" TargetMode="Externa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cwatson/Dropbox/A&amp;M%20Transfer/A&amp;M_LOGOS/A&amp;M%20Corporate/WEB/PNG/A&amp;M_Corporate_all%20white.png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9" r="1509"/>
          <a:stretch>
            <a:fillRect/>
          </a:stretch>
        </p:blipFill>
        <p:spPr>
          <a:xfrm>
            <a:off x="1601" y="-26066"/>
            <a:ext cx="12189597" cy="6884066"/>
          </a:xfr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pic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en-US" sz="3200" spc="-22" dirty="0">
                <a:solidFill>
                  <a:schemeClr val="accent2">
                    <a:lumMod val="40000"/>
                    <a:lumOff val="60000"/>
                  </a:schemeClr>
                </a:solidFill>
                <a:ea typeface="Times New Roman"/>
              </a:rPr>
              <a:t>Opportunity Hunter</a:t>
            </a:r>
            <a:endParaRPr lang="en-US" sz="2800" spc="-22" dirty="0">
              <a:solidFill>
                <a:schemeClr val="bg1"/>
              </a:solidFill>
              <a:ea typeface="Times New Roman"/>
            </a:endParaRPr>
          </a:p>
          <a:p>
            <a:pPr lvl="1"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</a:rPr>
              <a:t>July 29th, 2019</a:t>
            </a:r>
          </a:p>
        </p:txBody>
      </p:sp>
      <p:sp>
        <p:nvSpPr>
          <p:cNvPr id="18" name="Title 17"/>
          <p:cNvSpPr>
            <a:spLocks noGrp="1"/>
          </p:cNvSpPr>
          <p:nvPr>
            <p:ph type="ctrTitle"/>
          </p:nvPr>
        </p:nvSpPr>
        <p:spPr>
          <a:xfrm>
            <a:off x="738502" y="601273"/>
            <a:ext cx="10980841" cy="1847910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990" dirty="0">
                <a:solidFill>
                  <a:schemeClr val="bg1"/>
                </a:solidFill>
              </a:rPr>
              <a:t>William Hunter Final Report:</a:t>
            </a:r>
            <a:br>
              <a:rPr lang="en-US" sz="3990" dirty="0">
                <a:solidFill>
                  <a:schemeClr val="bg1"/>
                </a:solidFill>
              </a:rPr>
            </a:br>
            <a:r>
              <a:rPr lang="en-US" sz="3990" dirty="0">
                <a:solidFill>
                  <a:schemeClr val="bg1"/>
                </a:solidFill>
              </a:rPr>
              <a:t>Week of 7/29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100" y="2944676"/>
            <a:ext cx="2723664" cy="21852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r:link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7467" y="5897987"/>
            <a:ext cx="961120" cy="849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3060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hat could be improved in the futur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Next Step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29, 2019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E867ABC-6ADF-4732-B936-C6E67DBA08DD}"/>
              </a:ext>
            </a:extLst>
          </p:cNvPr>
          <p:cNvSpPr/>
          <p:nvPr/>
        </p:nvSpPr>
        <p:spPr>
          <a:xfrm>
            <a:off x="1843983" y="2136139"/>
            <a:ext cx="3658695" cy="74886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FF27654-58EA-4D23-9793-2264E374AF83}"/>
              </a:ext>
            </a:extLst>
          </p:cNvPr>
          <p:cNvSpPr/>
          <p:nvPr/>
        </p:nvSpPr>
        <p:spPr>
          <a:xfrm>
            <a:off x="1539315" y="2126537"/>
            <a:ext cx="748862" cy="748862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3" name="Graphic 22" descr="Checkmark">
            <a:extLst>
              <a:ext uri="{FF2B5EF4-FFF2-40B4-BE49-F238E27FC236}">
                <a16:creationId xmlns:a16="http://schemas.microsoft.com/office/drawing/2014/main" id="{95FDC0E7-51FB-4A4D-B7B2-781C7D5CEC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2145339"/>
            <a:ext cx="648751" cy="757147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72E51822-83B0-4917-89BE-2ED623DDFBAF}"/>
              </a:ext>
            </a:extLst>
          </p:cNvPr>
          <p:cNvSpPr txBox="1"/>
          <p:nvPr/>
        </p:nvSpPr>
        <p:spPr>
          <a:xfrm>
            <a:off x="2244800" y="2270135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Scraping More Sit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C0840EE-D648-4F4F-98C2-063C01F0DB44}"/>
              </a:ext>
            </a:extLst>
          </p:cNvPr>
          <p:cNvSpPr/>
          <p:nvPr/>
        </p:nvSpPr>
        <p:spPr>
          <a:xfrm>
            <a:off x="1843983" y="3179372"/>
            <a:ext cx="3658695" cy="7488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079E152D-D39A-44AE-BAA8-C7BFDDBAB93D}"/>
              </a:ext>
            </a:extLst>
          </p:cNvPr>
          <p:cNvSpPr/>
          <p:nvPr/>
        </p:nvSpPr>
        <p:spPr>
          <a:xfrm>
            <a:off x="1539315" y="3169770"/>
            <a:ext cx="748862" cy="7488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BD4F9336-68A3-42FA-A20C-0D2157C4C134}"/>
              </a:ext>
            </a:extLst>
          </p:cNvPr>
          <p:cNvSpPr/>
          <p:nvPr/>
        </p:nvSpPr>
        <p:spPr>
          <a:xfrm>
            <a:off x="1521010" y="3179372"/>
            <a:ext cx="748862" cy="74886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37" name="Graphic 36" descr="Checkmark">
            <a:extLst>
              <a:ext uri="{FF2B5EF4-FFF2-40B4-BE49-F238E27FC236}">
                <a16:creationId xmlns:a16="http://schemas.microsoft.com/office/drawing/2014/main" id="{6EDF6844-3683-4DC5-B67E-010210066F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3188572"/>
            <a:ext cx="648751" cy="757147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78F5A567-8644-4A76-AF00-3543B994616B}"/>
              </a:ext>
            </a:extLst>
          </p:cNvPr>
          <p:cNvSpPr txBox="1"/>
          <p:nvPr/>
        </p:nvSpPr>
        <p:spPr>
          <a:xfrm>
            <a:off x="2244800" y="3313368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Formatting/Look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40F8031-A608-4BBB-B6B2-9E1E7E01FE97}"/>
              </a:ext>
            </a:extLst>
          </p:cNvPr>
          <p:cNvSpPr/>
          <p:nvPr/>
        </p:nvSpPr>
        <p:spPr>
          <a:xfrm>
            <a:off x="1843983" y="4217618"/>
            <a:ext cx="3658695" cy="748862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1F723B8-746B-4805-923B-08BC74C4F150}"/>
              </a:ext>
            </a:extLst>
          </p:cNvPr>
          <p:cNvSpPr/>
          <p:nvPr/>
        </p:nvSpPr>
        <p:spPr>
          <a:xfrm>
            <a:off x="1539315" y="4208016"/>
            <a:ext cx="748862" cy="748862"/>
          </a:xfrm>
          <a:prstGeom prst="ellipse">
            <a:avLst/>
          </a:prstGeom>
          <a:solidFill>
            <a:schemeClr val="accent1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41" name="Graphic 40" descr="Checkmark">
            <a:extLst>
              <a:ext uri="{FF2B5EF4-FFF2-40B4-BE49-F238E27FC236}">
                <a16:creationId xmlns:a16="http://schemas.microsoft.com/office/drawing/2014/main" id="{3D83C14F-3480-4086-895A-BF36809057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4226818"/>
            <a:ext cx="648751" cy="757147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8AD9B9E0-5295-40A6-9738-185028B97DF6}"/>
              </a:ext>
            </a:extLst>
          </p:cNvPr>
          <p:cNvSpPr txBox="1"/>
          <p:nvPr/>
        </p:nvSpPr>
        <p:spPr>
          <a:xfrm>
            <a:off x="2244800" y="4351614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Keyword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4D21C8B-67F1-4B1F-A028-5EB03CC82716}"/>
              </a:ext>
            </a:extLst>
          </p:cNvPr>
          <p:cNvSpPr/>
          <p:nvPr/>
        </p:nvSpPr>
        <p:spPr>
          <a:xfrm>
            <a:off x="1843983" y="5219175"/>
            <a:ext cx="3658695" cy="74886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3C9E63F6-50BB-4807-AA0D-35D4BA7B0F61}"/>
              </a:ext>
            </a:extLst>
          </p:cNvPr>
          <p:cNvSpPr/>
          <p:nvPr/>
        </p:nvSpPr>
        <p:spPr>
          <a:xfrm>
            <a:off x="1539315" y="5209573"/>
            <a:ext cx="748862" cy="748862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45" name="Graphic 44" descr="Checkmark">
            <a:extLst>
              <a:ext uri="{FF2B5EF4-FFF2-40B4-BE49-F238E27FC236}">
                <a16:creationId xmlns:a16="http://schemas.microsoft.com/office/drawing/2014/main" id="{136ECF8B-79DD-460D-8EDF-CED13F75BE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9315" y="5228375"/>
            <a:ext cx="648751" cy="757147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B9CD4BFD-3FD3-4EA5-BCC8-9CD62B1E184C}"/>
              </a:ext>
            </a:extLst>
          </p:cNvPr>
          <p:cNvSpPr txBox="1"/>
          <p:nvPr/>
        </p:nvSpPr>
        <p:spPr>
          <a:xfrm>
            <a:off x="2244800" y="5353171"/>
            <a:ext cx="302260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RFP Application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D1F92AB-085F-45E9-8DC6-79187BFC7C15}"/>
              </a:ext>
            </a:extLst>
          </p:cNvPr>
          <p:cNvSpPr txBox="1"/>
          <p:nvPr/>
        </p:nvSpPr>
        <p:spPr>
          <a:xfrm>
            <a:off x="5573601" y="2216637"/>
            <a:ext cx="41609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There are many more sites to look at, such as FBO.gov.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E543E0F-FC87-42A9-AF73-55B28CBF93E1}"/>
              </a:ext>
            </a:extLst>
          </p:cNvPr>
          <p:cNvSpPr txBox="1"/>
          <p:nvPr/>
        </p:nvSpPr>
        <p:spPr>
          <a:xfrm>
            <a:off x="5573600" y="3251812"/>
            <a:ext cx="41609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I would like to auto format the excel sheets and add tables to the email.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A1B7034-AA4D-4543-9118-1D467F69ED55}"/>
              </a:ext>
            </a:extLst>
          </p:cNvPr>
          <p:cNvSpPr txBox="1"/>
          <p:nvPr/>
        </p:nvSpPr>
        <p:spPr>
          <a:xfrm>
            <a:off x="5573600" y="4288275"/>
            <a:ext cx="41609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Use keyword analysis to identify which jobs are useful to our team and other teams.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8D9A1C0-3845-4B63-BFA7-B28AF3F5417F}"/>
              </a:ext>
            </a:extLst>
          </p:cNvPr>
          <p:cNvSpPr txBox="1"/>
          <p:nvPr/>
        </p:nvSpPr>
        <p:spPr>
          <a:xfrm>
            <a:off x="5573600" y="5289832"/>
            <a:ext cx="40974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Figure out a way to pair previous decks with RFPs to speed up applications.</a:t>
            </a:r>
          </a:p>
        </p:txBody>
      </p:sp>
    </p:spTree>
    <p:extLst>
      <p:ext uri="{BB962C8B-B14F-4D97-AF65-F5344CB8AC3E}">
        <p14:creationId xmlns:p14="http://schemas.microsoft.com/office/powerpoint/2010/main" val="6205071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Large Milestones of the Project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Big Accomplishmen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29, 2019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CB85DE7-36F5-4380-A2B6-D666DAB28A32}"/>
              </a:ext>
            </a:extLst>
          </p:cNvPr>
          <p:cNvSpPr/>
          <p:nvPr/>
        </p:nvSpPr>
        <p:spPr>
          <a:xfrm>
            <a:off x="453375" y="2398969"/>
            <a:ext cx="3246120" cy="1389888"/>
          </a:xfrm>
          <a:prstGeom prst="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5C5BD15-80BC-43B2-8FF0-7DF0F724285D}"/>
              </a:ext>
            </a:extLst>
          </p:cNvPr>
          <p:cNvSpPr/>
          <p:nvPr/>
        </p:nvSpPr>
        <p:spPr>
          <a:xfrm>
            <a:off x="615681" y="2546644"/>
            <a:ext cx="2921508" cy="1094537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r>
              <a:rPr lang="en-US" sz="2800" dirty="0">
                <a:solidFill>
                  <a:schemeClr val="bg1"/>
                </a:solidFill>
              </a:rPr>
              <a:t>Web Scraping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0233BEB-3052-41BA-A212-AF8ED7853715}"/>
              </a:ext>
            </a:extLst>
          </p:cNvPr>
          <p:cNvSpPr/>
          <p:nvPr/>
        </p:nvSpPr>
        <p:spPr>
          <a:xfrm>
            <a:off x="8446993" y="2398969"/>
            <a:ext cx="3246120" cy="1389888"/>
          </a:xfrm>
          <a:prstGeom prst="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EF0846C-C7D7-420F-B1EA-3C02D559557A}"/>
              </a:ext>
            </a:extLst>
          </p:cNvPr>
          <p:cNvSpPr/>
          <p:nvPr/>
        </p:nvSpPr>
        <p:spPr>
          <a:xfrm>
            <a:off x="8609299" y="2546644"/>
            <a:ext cx="2921508" cy="1094537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r>
              <a:rPr lang="en-US" sz="2800" dirty="0">
                <a:solidFill>
                  <a:schemeClr val="bg1"/>
                </a:solidFill>
              </a:rPr>
              <a:t>Automatic Email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2D11440-39DE-4BA6-BCEB-28E46E896609}"/>
              </a:ext>
            </a:extLst>
          </p:cNvPr>
          <p:cNvSpPr/>
          <p:nvPr/>
        </p:nvSpPr>
        <p:spPr>
          <a:xfrm>
            <a:off x="453375" y="4088619"/>
            <a:ext cx="3246120" cy="1389888"/>
          </a:xfrm>
          <a:prstGeom prst="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22156EE-DBBE-4322-989B-B350600F02E3}"/>
              </a:ext>
            </a:extLst>
          </p:cNvPr>
          <p:cNvSpPr/>
          <p:nvPr/>
        </p:nvSpPr>
        <p:spPr>
          <a:xfrm>
            <a:off x="615681" y="4236294"/>
            <a:ext cx="2921508" cy="1094537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r>
              <a:rPr lang="en-US" sz="2800" dirty="0">
                <a:solidFill>
                  <a:schemeClr val="bg1"/>
                </a:solidFill>
              </a:rPr>
              <a:t>Data Manipulation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FEE6128-E5FF-4AD1-8BAB-E70848929531}"/>
              </a:ext>
            </a:extLst>
          </p:cNvPr>
          <p:cNvSpPr/>
          <p:nvPr/>
        </p:nvSpPr>
        <p:spPr>
          <a:xfrm>
            <a:off x="8446993" y="4088619"/>
            <a:ext cx="3246120" cy="1389888"/>
          </a:xfrm>
          <a:prstGeom prst="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C344B91-995D-4130-8287-2DD24DCFDCD1}"/>
              </a:ext>
            </a:extLst>
          </p:cNvPr>
          <p:cNvSpPr/>
          <p:nvPr/>
        </p:nvSpPr>
        <p:spPr>
          <a:xfrm>
            <a:off x="8609299" y="4236294"/>
            <a:ext cx="2921508" cy="1094537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r>
              <a:rPr lang="en-US" sz="2800" dirty="0">
                <a:solidFill>
                  <a:schemeClr val="bg1"/>
                </a:solidFill>
              </a:rPr>
              <a:t>Python Data </a:t>
            </a:r>
          </a:p>
          <a:p>
            <a:pPr marL="1588" algn="ctr">
              <a:spcAft>
                <a:spcPts val="400"/>
              </a:spcAft>
            </a:pPr>
            <a:r>
              <a:rPr lang="en-US" sz="2800" dirty="0">
                <a:solidFill>
                  <a:schemeClr val="bg1"/>
                </a:solidFill>
              </a:rPr>
              <a:t>Frame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1E9E012-8098-4451-BA84-4EDBD9D2D4A5}"/>
              </a:ext>
            </a:extLst>
          </p:cNvPr>
          <p:cNvSpPr/>
          <p:nvPr/>
        </p:nvSpPr>
        <p:spPr>
          <a:xfrm>
            <a:off x="4408494" y="2398969"/>
            <a:ext cx="3246120" cy="1389888"/>
          </a:xfrm>
          <a:prstGeom prst="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5CDDB79-181A-43D1-A9D8-0B1ACF6B282C}"/>
              </a:ext>
            </a:extLst>
          </p:cNvPr>
          <p:cNvSpPr/>
          <p:nvPr/>
        </p:nvSpPr>
        <p:spPr>
          <a:xfrm>
            <a:off x="4570800" y="2546644"/>
            <a:ext cx="2921508" cy="1094537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r>
              <a:rPr lang="en-US" sz="2800" dirty="0">
                <a:solidFill>
                  <a:schemeClr val="bg1"/>
                </a:solidFill>
              </a:rPr>
              <a:t>Using API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4702D39-A2AD-4C12-853A-3E90BEF5AA66}"/>
              </a:ext>
            </a:extLst>
          </p:cNvPr>
          <p:cNvSpPr/>
          <p:nvPr/>
        </p:nvSpPr>
        <p:spPr>
          <a:xfrm>
            <a:off x="4408494" y="4088619"/>
            <a:ext cx="3246120" cy="1389888"/>
          </a:xfrm>
          <a:prstGeom prst="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86CC8C2-8A34-47C7-89FD-004D00779079}"/>
              </a:ext>
            </a:extLst>
          </p:cNvPr>
          <p:cNvSpPr/>
          <p:nvPr/>
        </p:nvSpPr>
        <p:spPr>
          <a:xfrm>
            <a:off x="4570800" y="4236294"/>
            <a:ext cx="2921508" cy="1094537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r>
              <a:rPr lang="en-US" sz="2800" dirty="0">
                <a:solidFill>
                  <a:schemeClr val="bg1"/>
                </a:solidFill>
              </a:rPr>
              <a:t>Automatic Executables</a:t>
            </a:r>
          </a:p>
        </p:txBody>
      </p:sp>
    </p:spTree>
    <p:extLst>
      <p:ext uri="{BB962C8B-B14F-4D97-AF65-F5344CB8AC3E}">
        <p14:creationId xmlns:p14="http://schemas.microsoft.com/office/powerpoint/2010/main" val="33306204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Takeaways from the internship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What I have learne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29, 2019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C8F3F86-06B2-42BA-B4F0-B844A2A61090}"/>
              </a:ext>
            </a:extLst>
          </p:cNvPr>
          <p:cNvGrpSpPr/>
          <p:nvPr/>
        </p:nvGrpSpPr>
        <p:grpSpPr>
          <a:xfrm>
            <a:off x="508002" y="2093683"/>
            <a:ext cx="2287916" cy="4040387"/>
            <a:chOff x="381001" y="1570262"/>
            <a:chExt cx="1715937" cy="303029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53F354E-94D0-4262-8560-55BFF496EC24}"/>
                </a:ext>
              </a:extLst>
            </p:cNvPr>
            <p:cNvSpPr/>
            <p:nvPr/>
          </p:nvSpPr>
          <p:spPr>
            <a:xfrm>
              <a:off x="381001" y="1570262"/>
              <a:ext cx="1715937" cy="2899662"/>
            </a:xfrm>
            <a:prstGeom prst="rect">
              <a:avLst/>
            </a:prstGeom>
            <a:solidFill>
              <a:srgbClr val="002B49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7C12872-FD54-42C2-BAAA-CA15B8093878}"/>
                </a:ext>
              </a:extLst>
            </p:cNvPr>
            <p:cNvSpPr/>
            <p:nvPr/>
          </p:nvSpPr>
          <p:spPr>
            <a:xfrm>
              <a:off x="381001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3BBD09F-DB8A-4A99-A6E9-C15B1A11817E}"/>
              </a:ext>
            </a:extLst>
          </p:cNvPr>
          <p:cNvGrpSpPr/>
          <p:nvPr/>
        </p:nvGrpSpPr>
        <p:grpSpPr>
          <a:xfrm>
            <a:off x="3464635" y="2093683"/>
            <a:ext cx="2287916" cy="4040387"/>
            <a:chOff x="2598476" y="1570262"/>
            <a:chExt cx="1715937" cy="3030290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C2638978-AD26-4023-8103-FBEBA8B2ACE0}"/>
                </a:ext>
              </a:extLst>
            </p:cNvPr>
            <p:cNvSpPr/>
            <p:nvPr/>
          </p:nvSpPr>
          <p:spPr>
            <a:xfrm>
              <a:off x="2598476" y="1570262"/>
              <a:ext cx="1715937" cy="2899662"/>
            </a:xfrm>
            <a:prstGeom prst="rect">
              <a:avLst/>
            </a:prstGeom>
            <a:solidFill>
              <a:srgbClr val="0085CA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09BC997-491D-49B9-8EB1-AE7B043CC32C}"/>
                </a:ext>
              </a:extLst>
            </p:cNvPr>
            <p:cNvSpPr/>
            <p:nvPr/>
          </p:nvSpPr>
          <p:spPr>
            <a:xfrm>
              <a:off x="2598476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0F12205-9FD1-4778-8C23-505B3AFE1DE8}"/>
              </a:ext>
            </a:extLst>
          </p:cNvPr>
          <p:cNvGrpSpPr/>
          <p:nvPr/>
        </p:nvGrpSpPr>
        <p:grpSpPr>
          <a:xfrm>
            <a:off x="6421269" y="2093683"/>
            <a:ext cx="2287916" cy="4040387"/>
            <a:chOff x="4815951" y="1570262"/>
            <a:chExt cx="1715937" cy="3030290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24875C17-8277-4203-8EA8-ADDE2E8A4038}"/>
                </a:ext>
              </a:extLst>
            </p:cNvPr>
            <p:cNvSpPr/>
            <p:nvPr/>
          </p:nvSpPr>
          <p:spPr>
            <a:xfrm>
              <a:off x="4815951" y="1570262"/>
              <a:ext cx="1715937" cy="289966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4428B450-DD35-4442-8CF5-2BC50E29A99F}"/>
                </a:ext>
              </a:extLst>
            </p:cNvPr>
            <p:cNvSpPr/>
            <p:nvPr/>
          </p:nvSpPr>
          <p:spPr>
            <a:xfrm>
              <a:off x="4815951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B59A8C9-2C00-45FF-B08E-C59C8EDD45B8}"/>
              </a:ext>
            </a:extLst>
          </p:cNvPr>
          <p:cNvGrpSpPr/>
          <p:nvPr/>
        </p:nvGrpSpPr>
        <p:grpSpPr>
          <a:xfrm>
            <a:off x="9377901" y="2093683"/>
            <a:ext cx="2287917" cy="4040387"/>
            <a:chOff x="7033426" y="1570262"/>
            <a:chExt cx="1715938" cy="3030290"/>
          </a:xfrm>
          <a:solidFill>
            <a:schemeClr val="accent2">
              <a:lumMod val="75000"/>
            </a:schemeClr>
          </a:solidFill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C7A43099-E645-477A-80D1-B17EFD617771}"/>
                </a:ext>
              </a:extLst>
            </p:cNvPr>
            <p:cNvSpPr/>
            <p:nvPr/>
          </p:nvSpPr>
          <p:spPr>
            <a:xfrm>
              <a:off x="7033426" y="1570262"/>
              <a:ext cx="1715937" cy="28996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AA7C89E1-5A73-4C96-A0BA-C0F84F5D3DD3}"/>
                </a:ext>
              </a:extLst>
            </p:cNvPr>
            <p:cNvSpPr/>
            <p:nvPr/>
          </p:nvSpPr>
          <p:spPr>
            <a:xfrm>
              <a:off x="7033427" y="4469924"/>
              <a:ext cx="1715937" cy="1306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0C94A66F-414B-454A-B403-716EB6B8569E}"/>
              </a:ext>
            </a:extLst>
          </p:cNvPr>
          <p:cNvSpPr/>
          <p:nvPr/>
        </p:nvSpPr>
        <p:spPr bwMode="auto">
          <a:xfrm>
            <a:off x="856344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B89807A-9946-4BA4-A5BE-608D9402151E}"/>
              </a:ext>
            </a:extLst>
          </p:cNvPr>
          <p:cNvSpPr/>
          <p:nvPr/>
        </p:nvSpPr>
        <p:spPr>
          <a:xfrm>
            <a:off x="508002" y="3990806"/>
            <a:ext cx="2287917" cy="196226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Programming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Through the process I have mastered two new languages and many Python Libraries that are very useful.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08C92EE-37BC-443E-9983-D71EC189FB5C}"/>
              </a:ext>
            </a:extLst>
          </p:cNvPr>
          <p:cNvSpPr/>
          <p:nvPr/>
        </p:nvSpPr>
        <p:spPr bwMode="auto">
          <a:xfrm>
            <a:off x="3812977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ED5A896-9EE7-42D0-B1C2-1BC6420BA959}"/>
              </a:ext>
            </a:extLst>
          </p:cNvPr>
          <p:cNvSpPr/>
          <p:nvPr/>
        </p:nvSpPr>
        <p:spPr>
          <a:xfrm>
            <a:off x="3464635" y="3990807"/>
            <a:ext cx="2287917" cy="165455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Planning a Project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  <a:latin typeface="+mj-lt"/>
              </a:rPr>
              <a:t>I have learned how to plan out a project step by step and to tackle large code a section at a time.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438B62D-362F-47EB-A335-25C6ABC97BBC}"/>
              </a:ext>
            </a:extLst>
          </p:cNvPr>
          <p:cNvSpPr/>
          <p:nvPr/>
        </p:nvSpPr>
        <p:spPr bwMode="auto">
          <a:xfrm>
            <a:off x="6769611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8A33ED9-587B-4C9B-BA1A-290A9875EF7D}"/>
              </a:ext>
            </a:extLst>
          </p:cNvPr>
          <p:cNvSpPr/>
          <p:nvPr/>
        </p:nvSpPr>
        <p:spPr>
          <a:xfrm>
            <a:off x="6421268" y="3990807"/>
            <a:ext cx="2287917" cy="196226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914400">
              <a:lnSpc>
                <a:spcPct val="150000"/>
              </a:lnSpc>
            </a:pPr>
            <a:r>
              <a:rPr lang="en-US" sz="1600" b="1" dirty="0">
                <a:solidFill>
                  <a:prstClr val="white"/>
                </a:solidFill>
              </a:rPr>
              <a:t>How to Debug</a:t>
            </a:r>
          </a:p>
          <a:p>
            <a:pPr lvl="0" algn="ctr" defTabSz="914400">
              <a:lnSpc>
                <a:spcPct val="150000"/>
              </a:lnSpc>
            </a:pPr>
            <a:r>
              <a:rPr lang="en-US" sz="1333" dirty="0">
                <a:solidFill>
                  <a:prstClr val="white"/>
                </a:solidFill>
              </a:rPr>
              <a:t>Through my time with this project, I have encountered various bugs that took the system down, and learned to deal with this effectively.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87AA764-E33F-44AD-9A03-AED4062DAD9A}"/>
              </a:ext>
            </a:extLst>
          </p:cNvPr>
          <p:cNvSpPr/>
          <p:nvPr/>
        </p:nvSpPr>
        <p:spPr bwMode="auto">
          <a:xfrm>
            <a:off x="9726244" y="2317460"/>
            <a:ext cx="1591232" cy="159123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7E4B321-EDF8-4812-B06D-AEEB8BC13A74}"/>
              </a:ext>
            </a:extLst>
          </p:cNvPr>
          <p:cNvSpPr/>
          <p:nvPr/>
        </p:nvSpPr>
        <p:spPr>
          <a:xfrm>
            <a:off x="9377902" y="3990806"/>
            <a:ext cx="2287917" cy="165455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</a:rPr>
              <a:t>Working with a Team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  <a:latin typeface="+mj-lt"/>
              </a:rPr>
              <a:t>This was my first experience working and communicating with a team regarding a project.</a:t>
            </a:r>
          </a:p>
        </p:txBody>
      </p:sp>
      <p:pic>
        <p:nvPicPr>
          <p:cNvPr id="50" name="Picture 49" descr="A picture containing shoji, building&#10;&#10;Description automatically generated">
            <a:extLst>
              <a:ext uri="{FF2B5EF4-FFF2-40B4-BE49-F238E27FC236}">
                <a16:creationId xmlns:a16="http://schemas.microsoft.com/office/drawing/2014/main" id="{2EE36196-4BAC-4CF6-8A44-6489A3234AD0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3825" y="2454949"/>
            <a:ext cx="1317764" cy="1320052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1EAF01E9-E390-4B8F-8601-37827476A6E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59" t="10556" r="7224" b="25504"/>
          <a:stretch/>
        </p:blipFill>
        <p:spPr>
          <a:xfrm>
            <a:off x="3967005" y="2636938"/>
            <a:ext cx="1278090" cy="952276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15C1FDC1-B979-4B80-8850-E685CDFDD8D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3" t="2749" r="7387" b="17526"/>
          <a:stretch/>
        </p:blipFill>
        <p:spPr>
          <a:xfrm>
            <a:off x="1000494" y="2508516"/>
            <a:ext cx="1302931" cy="120912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704153F-06BD-44AF-908E-CE5638978D5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59" t="2293" r="7224" b="15636"/>
          <a:stretch/>
        </p:blipFill>
        <p:spPr>
          <a:xfrm>
            <a:off x="9809950" y="2454949"/>
            <a:ext cx="1423817" cy="1361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4247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E078685-AC98-41DF-B84B-645C65909F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0000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35BA392-6CDF-4444-B267-264A7F2424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© Copyright 2019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FBD3F86-65B2-4F0B-BC20-679B341348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® and A&amp;M® are trademarks of Alvarez &amp; Marsal Holdings, LLC.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4DDDD03-7256-4771-9165-6E8ED73CDD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Alvarez &amp; Marsal Holdings, LLC. All rights reserved. ALVAREZ &amp; MARSAL®, </a:t>
            </a:r>
          </a:p>
        </p:txBody>
      </p:sp>
      <p:pic>
        <p:nvPicPr>
          <p:cNvPr id="26" name="Picture 18">
            <a:extLst>
              <a:ext uri="{FF2B5EF4-FFF2-40B4-BE49-F238E27FC236}">
                <a16:creationId xmlns:a16="http://schemas.microsoft.com/office/drawing/2014/main" id="{EADC0383-1FFA-428A-8E66-A111A240F952}"/>
              </a:ext>
            </a:extLst>
          </p:cNvPr>
          <p:cNvPicPr>
            <a:picLocks noChangeAspect="1"/>
          </p:cNvPicPr>
          <p:nvPr/>
        </p:nvPicPr>
        <p:blipFill>
          <a:blip r:embed="rId2" r:link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533" y="5748334"/>
            <a:ext cx="141578" cy="125106"/>
          </a:xfrm>
          <a:prstGeom prst="rect">
            <a:avLst/>
          </a:prstGeom>
        </p:spPr>
      </p:pic>
      <p:sp>
        <p:nvSpPr>
          <p:cNvPr id="16" name="Title textbox">
            <a:extLst>
              <a:ext uri="{FF2B5EF4-FFF2-40B4-BE49-F238E27FC236}">
                <a16:creationId xmlns:a16="http://schemas.microsoft.com/office/drawing/2014/main" id="{5025B549-3ECC-49F9-95FD-907CB4D545A6}"/>
              </a:ext>
            </a:extLst>
          </p:cNvPr>
          <p:cNvSpPr txBox="1"/>
          <p:nvPr/>
        </p:nvSpPr>
        <p:spPr>
          <a:xfrm>
            <a:off x="-2" y="-286065"/>
            <a:ext cx="232436" cy="558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defTabSz="919121">
              <a:defRPr sz="4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sz="363"/>
              <a:t>Back cover</a:t>
            </a:r>
          </a:p>
        </p:txBody>
      </p:sp>
      <p:pic>
        <p:nvPicPr>
          <p:cNvPr id="17" name="Picture 18">
            <a:extLst>
              <a:ext uri="{FF2B5EF4-FFF2-40B4-BE49-F238E27FC236}">
                <a16:creationId xmlns:a16="http://schemas.microsoft.com/office/drawing/2014/main" id="{F22FA617-E560-4589-B388-B4368ED3D074}"/>
              </a:ext>
            </a:extLst>
          </p:cNvPr>
          <p:cNvPicPr>
            <a:picLocks noChangeAspect="1"/>
          </p:cNvPicPr>
          <p:nvPr/>
        </p:nvPicPr>
        <p:blipFill>
          <a:blip r:embed="rId2" r:link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533" y="5748334"/>
            <a:ext cx="141578" cy="125106"/>
          </a:xfrm>
          <a:prstGeom prst="rect">
            <a:avLst/>
          </a:prstGeom>
        </p:spPr>
      </p:pic>
      <p:pic>
        <p:nvPicPr>
          <p:cNvPr id="18" name="A&amp;M standard logo white" hidden="1">
            <a:extLst>
              <a:ext uri="{FF2B5EF4-FFF2-40B4-BE49-F238E27FC236}">
                <a16:creationId xmlns:a16="http://schemas.microsoft.com/office/drawing/2014/main" id="{B87863AE-6227-4347-B12A-805F767611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53462" y="4619049"/>
            <a:ext cx="2130420" cy="1883516"/>
          </a:xfrm>
          <a:prstGeom prst="rect">
            <a:avLst/>
          </a:prstGeom>
        </p:spPr>
      </p:pic>
      <p:pic>
        <p:nvPicPr>
          <p:cNvPr id="19" name="A&amp;M Tax logo white" hidden="1">
            <a:extLst>
              <a:ext uri="{FF2B5EF4-FFF2-40B4-BE49-F238E27FC236}">
                <a16:creationId xmlns:a16="http://schemas.microsoft.com/office/drawing/2014/main" id="{8B9631BE-CFBA-41B0-B673-E51C77A903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32009" y="4586155"/>
            <a:ext cx="1651873" cy="1912414"/>
          </a:xfrm>
          <a:prstGeom prst="rect">
            <a:avLst/>
          </a:prstGeom>
        </p:spPr>
      </p:pic>
      <p:pic>
        <p:nvPicPr>
          <p:cNvPr id="20" name="A&amp;M standard logo blue">
            <a:extLst>
              <a:ext uri="{FF2B5EF4-FFF2-40B4-BE49-F238E27FC236}">
                <a16:creationId xmlns:a16="http://schemas.microsoft.com/office/drawing/2014/main" id="{62FCCAA3-5D9E-406F-B5A3-06A94211E8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53462" y="4619049"/>
            <a:ext cx="2130420" cy="1883516"/>
          </a:xfrm>
          <a:prstGeom prst="rect">
            <a:avLst/>
          </a:prstGeom>
        </p:spPr>
      </p:pic>
      <p:pic>
        <p:nvPicPr>
          <p:cNvPr id="21" name="A&amp;M Tax logo blue" hidden="1">
            <a:extLst>
              <a:ext uri="{FF2B5EF4-FFF2-40B4-BE49-F238E27FC236}">
                <a16:creationId xmlns:a16="http://schemas.microsoft.com/office/drawing/2014/main" id="{A6ED3057-1A4A-4BA7-93ED-56B07120E0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32009" y="4586155"/>
            <a:ext cx="1651873" cy="191241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57999AC-39D7-4877-ACC6-A8E94AA0B4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64" y="5749307"/>
            <a:ext cx="119627" cy="105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4069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hat did I hope to achieve?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Introduction to Opportunity Hunt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29, 2019</a:t>
            </a:r>
          </a:p>
        </p:txBody>
      </p:sp>
      <p:sp>
        <p:nvSpPr>
          <p:cNvPr id="20" name="Teardrop 19">
            <a:extLst>
              <a:ext uri="{FF2B5EF4-FFF2-40B4-BE49-F238E27FC236}">
                <a16:creationId xmlns:a16="http://schemas.microsoft.com/office/drawing/2014/main" id="{B79D9F6F-CD3E-45CF-B5EF-6BAE88331062}"/>
              </a:ext>
            </a:extLst>
          </p:cNvPr>
          <p:cNvSpPr>
            <a:spLocks noChangeAspect="1"/>
          </p:cNvSpPr>
          <p:nvPr/>
        </p:nvSpPr>
        <p:spPr bwMode="auto">
          <a:xfrm rot="10800000" flipH="1">
            <a:off x="3605356" y="1749069"/>
            <a:ext cx="2400304" cy="2279716"/>
          </a:xfrm>
          <a:prstGeom prst="teardrop">
            <a:avLst/>
          </a:prstGeom>
          <a:solidFill>
            <a:srgbClr val="75C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21" name="Teardrop 20">
            <a:extLst>
              <a:ext uri="{FF2B5EF4-FFF2-40B4-BE49-F238E27FC236}">
                <a16:creationId xmlns:a16="http://schemas.microsoft.com/office/drawing/2014/main" id="{A3F8ABCA-3823-4AB0-89D5-EBD4FEB8EADC}"/>
              </a:ext>
            </a:extLst>
          </p:cNvPr>
          <p:cNvSpPr>
            <a:spLocks noChangeAspect="1"/>
          </p:cNvSpPr>
          <p:nvPr/>
        </p:nvSpPr>
        <p:spPr bwMode="auto">
          <a:xfrm rot="10800000">
            <a:off x="6115235" y="1749069"/>
            <a:ext cx="2415200" cy="2279716"/>
          </a:xfrm>
          <a:prstGeom prst="teardrop">
            <a:avLst/>
          </a:prstGeom>
          <a:solidFill>
            <a:srgbClr val="007DC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23" name="Teardrop 22">
            <a:extLst>
              <a:ext uri="{FF2B5EF4-FFF2-40B4-BE49-F238E27FC236}">
                <a16:creationId xmlns:a16="http://schemas.microsoft.com/office/drawing/2014/main" id="{0D32AB9A-43D5-4CD2-AF17-D91359FFCC58}"/>
              </a:ext>
            </a:extLst>
          </p:cNvPr>
          <p:cNvSpPr>
            <a:spLocks noChangeAspect="1"/>
          </p:cNvSpPr>
          <p:nvPr/>
        </p:nvSpPr>
        <p:spPr bwMode="auto">
          <a:xfrm rot="10800000" flipV="1">
            <a:off x="6115233" y="4159034"/>
            <a:ext cx="2415200" cy="2279716"/>
          </a:xfrm>
          <a:prstGeom prst="teardrop">
            <a:avLst/>
          </a:prstGeom>
          <a:solidFill>
            <a:srgbClr val="00568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24" name="Teardrop 23">
            <a:extLst>
              <a:ext uri="{FF2B5EF4-FFF2-40B4-BE49-F238E27FC236}">
                <a16:creationId xmlns:a16="http://schemas.microsoft.com/office/drawing/2014/main" id="{8140C3DF-4E06-4CE8-B740-1BCAF7C40562}"/>
              </a:ext>
            </a:extLst>
          </p:cNvPr>
          <p:cNvSpPr>
            <a:spLocks noChangeAspect="1"/>
          </p:cNvSpPr>
          <p:nvPr/>
        </p:nvSpPr>
        <p:spPr bwMode="auto">
          <a:xfrm>
            <a:off x="3590095" y="4159034"/>
            <a:ext cx="2415200" cy="2279716"/>
          </a:xfrm>
          <a:prstGeom prst="teardrop">
            <a:avLst/>
          </a:prstGeom>
          <a:solidFill>
            <a:srgbClr val="499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31E0842-51E6-42B2-8D4B-C3C5426C3A5F}"/>
              </a:ext>
            </a:extLst>
          </p:cNvPr>
          <p:cNvSpPr>
            <a:spLocks noChangeAspect="1"/>
          </p:cNvSpPr>
          <p:nvPr/>
        </p:nvSpPr>
        <p:spPr bwMode="auto">
          <a:xfrm>
            <a:off x="3823626" y="1942080"/>
            <a:ext cx="1953797" cy="1893694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575D1C90-9CAB-4EC5-BE82-247FD0E57354}"/>
              </a:ext>
            </a:extLst>
          </p:cNvPr>
          <p:cNvSpPr>
            <a:spLocks noChangeAspect="1"/>
          </p:cNvSpPr>
          <p:nvPr/>
        </p:nvSpPr>
        <p:spPr bwMode="auto">
          <a:xfrm>
            <a:off x="6345936" y="4379524"/>
            <a:ext cx="1953797" cy="1893694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5034EA64-BB86-4B74-A887-5C480DC1CC02}"/>
              </a:ext>
            </a:extLst>
          </p:cNvPr>
          <p:cNvSpPr>
            <a:spLocks noChangeAspect="1"/>
          </p:cNvSpPr>
          <p:nvPr/>
        </p:nvSpPr>
        <p:spPr bwMode="auto">
          <a:xfrm>
            <a:off x="3823626" y="4352045"/>
            <a:ext cx="1953797" cy="1893694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EA9B6BD-CB7D-4BCE-8BE2-D5FF561B50F7}"/>
              </a:ext>
            </a:extLst>
          </p:cNvPr>
          <p:cNvSpPr txBox="1"/>
          <p:nvPr/>
        </p:nvSpPr>
        <p:spPr>
          <a:xfrm>
            <a:off x="420952" y="4589348"/>
            <a:ext cx="3103426" cy="135421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2800" dirty="0">
                <a:solidFill>
                  <a:schemeClr val="tx1">
                    <a:lumMod val="95000"/>
                    <a:lumOff val="5000"/>
                  </a:schemeClr>
                </a:solidFill>
                <a:latin typeface="Helvetica" pitchFamily="2" charset="0"/>
              </a:rPr>
              <a:t>RFPs</a:t>
            </a:r>
            <a:endParaRPr lang="en-US" sz="2400" dirty="0">
              <a:solidFill>
                <a:schemeClr val="tx1">
                  <a:lumMod val="95000"/>
                  <a:lumOff val="5000"/>
                </a:schemeClr>
              </a:solidFill>
              <a:latin typeface="Helvetica" pitchFamily="2" charset="0"/>
            </a:endParaRPr>
          </a:p>
          <a:p>
            <a:pPr algn="r"/>
            <a:r>
              <a:rPr lang="en-US" i="1" dirty="0">
                <a:solidFill>
                  <a:schemeClr val="tx1">
                    <a:lumMod val="95000"/>
                    <a:lumOff val="5000"/>
                  </a:schemeClr>
                </a:solidFill>
                <a:latin typeface="Helvetica" pitchFamily="2" charset="0"/>
              </a:rPr>
              <a:t>Acquiring </a:t>
            </a:r>
            <a:r>
              <a:rPr lang="en-US" b="1" i="1" dirty="0">
                <a:solidFill>
                  <a:srgbClr val="499FFF"/>
                </a:solidFill>
                <a:latin typeface="Helvetica" pitchFamily="2" charset="0"/>
              </a:rPr>
              <a:t>RFPs</a:t>
            </a:r>
            <a:r>
              <a:rPr lang="en-US" i="1" dirty="0">
                <a:solidFill>
                  <a:schemeClr val="tx1">
                    <a:lumMod val="95000"/>
                    <a:lumOff val="5000"/>
                  </a:schemeClr>
                </a:solidFill>
                <a:latin typeface="Helvetica" pitchFamily="2" charset="0"/>
              </a:rPr>
              <a:t> and </a:t>
            </a:r>
            <a:r>
              <a:rPr lang="en-US" b="1" i="1" dirty="0">
                <a:solidFill>
                  <a:srgbClr val="499FFF"/>
                </a:solidFill>
                <a:latin typeface="Helvetica" pitchFamily="2" charset="0"/>
              </a:rPr>
              <a:t>RFIs</a:t>
            </a:r>
            <a:r>
              <a:rPr lang="en-US" i="1" dirty="0">
                <a:solidFill>
                  <a:schemeClr val="tx1">
                    <a:lumMod val="95000"/>
                    <a:lumOff val="5000"/>
                  </a:schemeClr>
                </a:solidFill>
                <a:latin typeface="Helvetica" pitchFamily="2" charset="0"/>
              </a:rPr>
              <a:t> from government websites for the team to apply to.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91851167-25E2-459B-81EE-2AC50C299FDB}"/>
              </a:ext>
            </a:extLst>
          </p:cNvPr>
          <p:cNvSpPr>
            <a:spLocks noChangeAspect="1"/>
          </p:cNvSpPr>
          <p:nvPr/>
        </p:nvSpPr>
        <p:spPr bwMode="auto">
          <a:xfrm>
            <a:off x="6345936" y="1959050"/>
            <a:ext cx="1953797" cy="1893694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A08E764-4A09-4B48-B8FA-97D7121D6040}"/>
              </a:ext>
            </a:extLst>
          </p:cNvPr>
          <p:cNvSpPr txBox="1"/>
          <p:nvPr/>
        </p:nvSpPr>
        <p:spPr>
          <a:xfrm>
            <a:off x="287810" y="1863955"/>
            <a:ext cx="3236568" cy="1631216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spAutoFit/>
          </a:bodyPr>
          <a:lstStyle/>
          <a:p>
            <a:pPr algn="r"/>
            <a:r>
              <a:rPr lang="en-US" sz="2800" dirty="0">
                <a:latin typeface="Helvetica" pitchFamily="2" charset="0"/>
              </a:rPr>
              <a:t>PROJECTS</a:t>
            </a:r>
          </a:p>
          <a:p>
            <a:pPr algn="r"/>
            <a:r>
              <a:rPr lang="en-US" i="1" dirty="0">
                <a:latin typeface="Helvetica" pitchFamily="2" charset="0"/>
              </a:rPr>
              <a:t>Increase the </a:t>
            </a:r>
            <a:r>
              <a:rPr lang="en-US" b="1" i="1" dirty="0">
                <a:solidFill>
                  <a:srgbClr val="75CFFF"/>
                </a:solidFill>
                <a:latin typeface="Helvetica" pitchFamily="2" charset="0"/>
              </a:rPr>
              <a:t>number</a:t>
            </a:r>
            <a:r>
              <a:rPr lang="en-US" i="1" dirty="0">
                <a:latin typeface="Helvetica" pitchFamily="2" charset="0"/>
              </a:rPr>
              <a:t> of </a:t>
            </a:r>
            <a:r>
              <a:rPr lang="en-US" b="1" i="1" dirty="0">
                <a:solidFill>
                  <a:srgbClr val="75CFFF"/>
                </a:solidFill>
                <a:latin typeface="Helvetica" pitchFamily="2" charset="0"/>
              </a:rPr>
              <a:t>jobs</a:t>
            </a:r>
            <a:r>
              <a:rPr lang="en-US" i="1" dirty="0">
                <a:latin typeface="Helvetica" pitchFamily="2" charset="0"/>
              </a:rPr>
              <a:t> that our team and other teams are working on to increase revenue for the firm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735928E-2D08-4000-AA88-56458808313D}"/>
              </a:ext>
            </a:extLst>
          </p:cNvPr>
          <p:cNvSpPr txBox="1"/>
          <p:nvPr/>
        </p:nvSpPr>
        <p:spPr>
          <a:xfrm>
            <a:off x="8611412" y="1863955"/>
            <a:ext cx="3085877" cy="16312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Helvetica" pitchFamily="2" charset="0"/>
              </a:rPr>
              <a:t>ACCESSIBILITY</a:t>
            </a:r>
          </a:p>
          <a:p>
            <a:r>
              <a:rPr lang="en-US" b="1" i="1" dirty="0">
                <a:solidFill>
                  <a:srgbClr val="007DC6"/>
                </a:solidFill>
                <a:latin typeface="Helvetica" pitchFamily="2" charset="0"/>
              </a:rPr>
              <a:t>Automate</a:t>
            </a:r>
            <a:r>
              <a:rPr lang="en-US" i="1" dirty="0">
                <a:latin typeface="Helvetica" pitchFamily="2" charset="0"/>
              </a:rPr>
              <a:t> research and </a:t>
            </a:r>
            <a:r>
              <a:rPr lang="en-US" b="1" i="1" dirty="0">
                <a:solidFill>
                  <a:srgbClr val="007DC6"/>
                </a:solidFill>
                <a:latin typeface="Helvetica" pitchFamily="2" charset="0"/>
              </a:rPr>
              <a:t>present</a:t>
            </a:r>
            <a:r>
              <a:rPr lang="en-US" i="1" dirty="0">
                <a:latin typeface="Helvetica" pitchFamily="2" charset="0"/>
              </a:rPr>
              <a:t> the team with useful information that they would have searched for.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ED5E22B-A1A7-4417-97FE-9FAF3FB1BA39}"/>
              </a:ext>
            </a:extLst>
          </p:cNvPr>
          <p:cNvSpPr txBox="1"/>
          <p:nvPr/>
        </p:nvSpPr>
        <p:spPr>
          <a:xfrm>
            <a:off x="8601485" y="4589348"/>
            <a:ext cx="3085876" cy="16312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Helvetica" pitchFamily="2" charset="0"/>
              </a:rPr>
              <a:t>EVENTS</a:t>
            </a:r>
          </a:p>
          <a:p>
            <a:r>
              <a:rPr lang="en-US" i="1" dirty="0">
                <a:latin typeface="Helvetica" pitchFamily="2" charset="0"/>
              </a:rPr>
              <a:t>Find events for the </a:t>
            </a:r>
            <a:r>
              <a:rPr lang="en-US" b="1" i="1" dirty="0">
                <a:solidFill>
                  <a:srgbClr val="005686"/>
                </a:solidFill>
                <a:latin typeface="Helvetica" pitchFamily="2" charset="0"/>
              </a:rPr>
              <a:t>team</a:t>
            </a:r>
            <a:r>
              <a:rPr lang="en-US" i="1" dirty="0">
                <a:latin typeface="Helvetica" pitchFamily="2" charset="0"/>
              </a:rPr>
              <a:t> to </a:t>
            </a:r>
            <a:r>
              <a:rPr lang="en-US" b="1" i="1" dirty="0">
                <a:solidFill>
                  <a:srgbClr val="005686"/>
                </a:solidFill>
                <a:latin typeface="Helvetica" pitchFamily="2" charset="0"/>
              </a:rPr>
              <a:t>attend</a:t>
            </a:r>
            <a:r>
              <a:rPr lang="en-US" i="1" dirty="0">
                <a:latin typeface="Helvetica" pitchFamily="2" charset="0"/>
              </a:rPr>
              <a:t> that could help with current projects or future jobs.</a:t>
            </a:r>
            <a:endParaRPr lang="en-US" sz="2400" b="1" dirty="0">
              <a:solidFill>
                <a:srgbClr val="005686"/>
              </a:solidFill>
              <a:latin typeface="Helvetica" pitchFamily="2" charset="0"/>
            </a:endParaRPr>
          </a:p>
        </p:txBody>
      </p:sp>
      <p:pic>
        <p:nvPicPr>
          <p:cNvPr id="43" name="Graphic 42" descr="Business Growth">
            <a:extLst>
              <a:ext uri="{FF2B5EF4-FFF2-40B4-BE49-F238E27FC236}">
                <a16:creationId xmlns:a16="http://schemas.microsoft.com/office/drawing/2014/main" id="{8C878774-43EB-4013-9351-9AA4DF7617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68754" y="4810927"/>
            <a:ext cx="1030886" cy="1030886"/>
          </a:xfrm>
          <a:prstGeom prst="rect">
            <a:avLst/>
          </a:prstGeom>
        </p:spPr>
      </p:pic>
      <p:pic>
        <p:nvPicPr>
          <p:cNvPr id="44" name="Graphic 43" descr="Head with gears">
            <a:extLst>
              <a:ext uri="{FF2B5EF4-FFF2-40B4-BE49-F238E27FC236}">
                <a16:creationId xmlns:a16="http://schemas.microsoft.com/office/drawing/2014/main" id="{9A3CF623-3ADB-4901-896C-F1394A8B8D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16770" y="2384028"/>
            <a:ext cx="1012125" cy="1012125"/>
          </a:xfrm>
          <a:prstGeom prst="rect">
            <a:avLst/>
          </a:prstGeom>
        </p:spPr>
      </p:pic>
      <p:pic>
        <p:nvPicPr>
          <p:cNvPr id="45" name="Graphic 44" descr="Store">
            <a:extLst>
              <a:ext uri="{FF2B5EF4-FFF2-40B4-BE49-F238E27FC236}">
                <a16:creationId xmlns:a16="http://schemas.microsoft.com/office/drawing/2014/main" id="{592E88FB-634F-4467-BA1B-D2B9BD1D8C4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32138" y="4978790"/>
            <a:ext cx="629540" cy="629540"/>
          </a:xfrm>
          <a:prstGeom prst="rect">
            <a:avLst/>
          </a:prstGeom>
        </p:spPr>
      </p:pic>
      <p:pic>
        <p:nvPicPr>
          <p:cNvPr id="46" name="Graphic 45" descr="Laptop">
            <a:extLst>
              <a:ext uri="{FF2B5EF4-FFF2-40B4-BE49-F238E27FC236}">
                <a16:creationId xmlns:a16="http://schemas.microsoft.com/office/drawing/2014/main" id="{133FE2DA-009E-440C-8CA5-993DA0CE45C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34258" y="4925908"/>
            <a:ext cx="735309" cy="73530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C143889-CA0A-4C1D-A0E5-A73B4FBB13C6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33" t="8500" r="8751" b="22500"/>
          <a:stretch/>
        </p:blipFill>
        <p:spPr>
          <a:xfrm>
            <a:off x="4131899" y="2205946"/>
            <a:ext cx="1512498" cy="1258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5977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How will this be useful?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Benefits of the Projec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29, 2019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8BF390A-9C25-4AC7-9348-B72DDB624F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81" y="3003512"/>
            <a:ext cx="5905804" cy="146057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9A58D342-C0C3-4DC0-AC2D-CA96CF96BDC4}"/>
              </a:ext>
            </a:extLst>
          </p:cNvPr>
          <p:cNvSpPr/>
          <p:nvPr/>
        </p:nvSpPr>
        <p:spPr>
          <a:xfrm>
            <a:off x="7654853" y="1749069"/>
            <a:ext cx="3702320" cy="4341745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830B4B9-B24A-4452-AD50-73B0948C4879}"/>
              </a:ext>
            </a:extLst>
          </p:cNvPr>
          <p:cNvSpPr txBox="1"/>
          <p:nvPr/>
        </p:nvSpPr>
        <p:spPr>
          <a:xfrm>
            <a:off x="7911274" y="1905751"/>
            <a:ext cx="3189477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bg1"/>
                </a:solidFill>
              </a:rPr>
              <a:t>Finds opportunities for the team would not have found</a:t>
            </a:r>
          </a:p>
          <a:p>
            <a:pPr lvl="1"/>
            <a:endParaRPr lang="en-US" sz="1000" dirty="0">
              <a:solidFill>
                <a:schemeClr val="bg1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bg1"/>
                </a:solidFill>
              </a:rPr>
              <a:t>Already found an RFP that we are currently looking to apply toward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sz="10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bg1"/>
                </a:solidFill>
              </a:rPr>
              <a:t>Daily reminder for all the new jobs that can be applied for.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sz="10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bg1"/>
                </a:solidFill>
              </a:rPr>
              <a:t>Easy for the user to understand the report.</a:t>
            </a:r>
          </a:p>
        </p:txBody>
      </p:sp>
    </p:spTree>
    <p:extLst>
      <p:ext uri="{BB962C8B-B14F-4D97-AF65-F5344CB8AC3E}">
        <p14:creationId xmlns:p14="http://schemas.microsoft.com/office/powerpoint/2010/main" val="17586156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hat specifically is being scraped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Information Capture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29, 2019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2692DB3-2488-4D23-AA4A-93D8856B1751}"/>
              </a:ext>
            </a:extLst>
          </p:cNvPr>
          <p:cNvSpPr/>
          <p:nvPr/>
        </p:nvSpPr>
        <p:spPr bwMode="auto">
          <a:xfrm>
            <a:off x="8371993" y="2240946"/>
            <a:ext cx="2751260" cy="3209805"/>
          </a:xfrm>
          <a:prstGeom prst="rect">
            <a:avLst/>
          </a:pr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 dirty="0"/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id="{2D7A8557-078E-4637-A151-F008ED3F14EE}"/>
              </a:ext>
            </a:extLst>
          </p:cNvPr>
          <p:cNvSpPr/>
          <p:nvPr/>
        </p:nvSpPr>
        <p:spPr bwMode="auto">
          <a:xfrm>
            <a:off x="10527146" y="4288930"/>
            <a:ext cx="1192213" cy="1192213"/>
          </a:xfrm>
          <a:prstGeom prst="diamond">
            <a:avLst/>
          </a:prstGeom>
          <a:solidFill>
            <a:schemeClr val="accent3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386FA5-FD54-43F8-A328-51B047361A4A}"/>
              </a:ext>
            </a:extLst>
          </p:cNvPr>
          <p:cNvSpPr/>
          <p:nvPr/>
        </p:nvSpPr>
        <p:spPr>
          <a:xfrm>
            <a:off x="8510750" y="2153438"/>
            <a:ext cx="2473745" cy="294702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3200" dirty="0">
                <a:solidFill>
                  <a:schemeClr val="bg1"/>
                </a:solidFill>
              </a:rPr>
              <a:t>Information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The information gathered is all from the listings posted on the site, and as much of it as possible. It includes job description, issue date, due date, company, location, 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and much more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D56D15-632A-45A5-ACBF-AFA1E8B5BED0}"/>
              </a:ext>
            </a:extLst>
          </p:cNvPr>
          <p:cNvSpPr/>
          <p:nvPr/>
        </p:nvSpPr>
        <p:spPr bwMode="auto">
          <a:xfrm>
            <a:off x="4466767" y="2240946"/>
            <a:ext cx="2751260" cy="3209805"/>
          </a:xfrm>
          <a:prstGeom prst="rect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13" name="Diamond 12">
            <a:extLst>
              <a:ext uri="{FF2B5EF4-FFF2-40B4-BE49-F238E27FC236}">
                <a16:creationId xmlns:a16="http://schemas.microsoft.com/office/drawing/2014/main" id="{CBF0E09C-7541-4927-8498-8EA3D55E3220}"/>
              </a:ext>
            </a:extLst>
          </p:cNvPr>
          <p:cNvSpPr/>
          <p:nvPr/>
        </p:nvSpPr>
        <p:spPr bwMode="auto">
          <a:xfrm>
            <a:off x="6621921" y="4288930"/>
            <a:ext cx="1192213" cy="1192213"/>
          </a:xfrm>
          <a:prstGeom prst="diamond">
            <a:avLst/>
          </a:prstGeom>
          <a:solidFill>
            <a:schemeClr val="accent2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B6CBAED-9ACA-4E57-9F6A-CE77543F8291}"/>
              </a:ext>
            </a:extLst>
          </p:cNvPr>
          <p:cNvSpPr/>
          <p:nvPr/>
        </p:nvSpPr>
        <p:spPr>
          <a:xfrm>
            <a:off x="4591997" y="2155882"/>
            <a:ext cx="2473745" cy="294702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3200" dirty="0">
                <a:solidFill>
                  <a:schemeClr val="bg1"/>
                </a:solidFill>
              </a:rPr>
              <a:t>Events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The tool also looks for possible networking events or events that could be useful to the team to find new jobs or work on current job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333" dirty="0">
                <a:solidFill>
                  <a:schemeClr val="bg1"/>
                </a:solidFill>
              </a:rPr>
              <a:t>EventBrite.co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333" dirty="0">
                <a:solidFill>
                  <a:schemeClr val="bg1"/>
                </a:solidFill>
              </a:rPr>
              <a:t>10Times.com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6F41062-BCD5-47CA-B07B-C4CDC9DBB927}"/>
              </a:ext>
            </a:extLst>
          </p:cNvPr>
          <p:cNvSpPr/>
          <p:nvPr/>
        </p:nvSpPr>
        <p:spPr bwMode="auto">
          <a:xfrm>
            <a:off x="561543" y="2240946"/>
            <a:ext cx="2751260" cy="3209805"/>
          </a:xfrm>
          <a:prstGeom prst="rect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16" name="Diamond 15">
            <a:extLst>
              <a:ext uri="{FF2B5EF4-FFF2-40B4-BE49-F238E27FC236}">
                <a16:creationId xmlns:a16="http://schemas.microsoft.com/office/drawing/2014/main" id="{DE00D9E1-E3FB-49A5-A0FB-60CF1C1B6471}"/>
              </a:ext>
            </a:extLst>
          </p:cNvPr>
          <p:cNvSpPr/>
          <p:nvPr/>
        </p:nvSpPr>
        <p:spPr bwMode="auto">
          <a:xfrm>
            <a:off x="2716696" y="4288930"/>
            <a:ext cx="1192213" cy="1192213"/>
          </a:xfrm>
          <a:prstGeom prst="diamond">
            <a:avLst/>
          </a:pr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B9246C0-596C-416C-9A29-CE0E583F8828}"/>
              </a:ext>
            </a:extLst>
          </p:cNvPr>
          <p:cNvSpPr/>
          <p:nvPr/>
        </p:nvSpPr>
        <p:spPr>
          <a:xfrm>
            <a:off x="693535" y="2165584"/>
            <a:ext cx="2473745" cy="356245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3200" dirty="0">
                <a:solidFill>
                  <a:schemeClr val="bg1"/>
                </a:solidFill>
              </a:rPr>
              <a:t>RFPs</a:t>
            </a:r>
          </a:p>
          <a:p>
            <a:pPr algn="ctr">
              <a:lnSpc>
                <a:spcPct val="150000"/>
              </a:lnSpc>
            </a:pPr>
            <a:r>
              <a:rPr lang="en-US" sz="1333" dirty="0">
                <a:solidFill>
                  <a:schemeClr val="bg1"/>
                </a:solidFill>
              </a:rPr>
              <a:t>The tool is first looking for RFPs and RFIs that are posted daily on government websites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333" dirty="0">
                <a:solidFill>
                  <a:schemeClr val="bg1"/>
                </a:solidFill>
              </a:rPr>
              <a:t>NYSCR.gov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333" dirty="0">
                <a:solidFill>
                  <a:schemeClr val="bg1"/>
                </a:solidFill>
              </a:rPr>
              <a:t>DASNY.or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333" dirty="0">
                <a:solidFill>
                  <a:schemeClr val="bg1"/>
                </a:solidFill>
              </a:rPr>
              <a:t>GOV.uk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333" dirty="0">
                <a:solidFill>
                  <a:schemeClr val="bg1"/>
                </a:solidFill>
              </a:rPr>
              <a:t>RFPDB.com</a:t>
            </a:r>
          </a:p>
          <a:p>
            <a:pPr marL="285750" indent="-285750" algn="ctr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333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80F6A6-0147-421A-BEF8-68B110302C3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12" t="9999" r="16813" b="24505"/>
          <a:stretch/>
        </p:blipFill>
        <p:spPr>
          <a:xfrm>
            <a:off x="3041227" y="4551751"/>
            <a:ext cx="494597" cy="61620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C70E1BD6-5DD2-4DFF-925B-AC09A548D2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42" t="12778" r="10556" b="26805"/>
          <a:stretch/>
        </p:blipFill>
        <p:spPr>
          <a:xfrm>
            <a:off x="6836804" y="4578166"/>
            <a:ext cx="762446" cy="58979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4C2B68B-89BA-40CB-AA44-950A149DD64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20" t="1733" r="8755" b="15467"/>
          <a:stretch/>
        </p:blipFill>
        <p:spPr>
          <a:xfrm>
            <a:off x="10761076" y="4519438"/>
            <a:ext cx="724351" cy="731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1812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How is the information scraped?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Overall Proces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29, 2019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F5F9BD0C-E22E-4678-8297-67B91DE9895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82685731"/>
              </p:ext>
            </p:extLst>
          </p:nvPr>
        </p:nvGraphicFramePr>
        <p:xfrm>
          <a:off x="1544573" y="1908044"/>
          <a:ext cx="11285602" cy="45752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379417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Daily Emai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15681" y="582923"/>
            <a:ext cx="10979572" cy="724321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Example Repor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29, 2019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AEDDB77-FA4C-45CB-AE83-8178175CB4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675" y="1808614"/>
            <a:ext cx="11665550" cy="4311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9294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In Excel Fil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Example of Data Store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29, 2019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4CDD9F5-6F7F-4C51-A46E-A68C9F4CE9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100" y="1816118"/>
            <a:ext cx="11360734" cy="4165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6911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READM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Opportunity Hunter Guid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29, 2019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DB0955A-E971-4B30-BB58-BE5E21B87E38}"/>
              </a:ext>
            </a:extLst>
          </p:cNvPr>
          <p:cNvSpPr>
            <a:spLocks noChangeAspect="1"/>
          </p:cNvSpPr>
          <p:nvPr/>
        </p:nvSpPr>
        <p:spPr>
          <a:xfrm>
            <a:off x="1325880" y="1839374"/>
            <a:ext cx="2286000" cy="225334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028FBAD-9998-48FC-AC99-DA3D0FCEE00A}"/>
              </a:ext>
            </a:extLst>
          </p:cNvPr>
          <p:cNvSpPr/>
          <p:nvPr/>
        </p:nvSpPr>
        <p:spPr>
          <a:xfrm>
            <a:off x="1402080" y="1914485"/>
            <a:ext cx="2133600" cy="210312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  <a:latin typeface="Helvetica" pitchFamily="2" charset="0"/>
            </a:endParaRPr>
          </a:p>
        </p:txBody>
      </p:sp>
      <p:sp>
        <p:nvSpPr>
          <p:cNvPr id="27" name="Rounded Rectangle 20">
            <a:extLst>
              <a:ext uri="{FF2B5EF4-FFF2-40B4-BE49-F238E27FC236}">
                <a16:creationId xmlns:a16="http://schemas.microsoft.com/office/drawing/2014/main" id="{C0743BF0-67BC-4ACA-A6F1-A00AFAF1FD90}"/>
              </a:ext>
            </a:extLst>
          </p:cNvPr>
          <p:cNvSpPr/>
          <p:nvPr/>
        </p:nvSpPr>
        <p:spPr>
          <a:xfrm>
            <a:off x="1028700" y="4233672"/>
            <a:ext cx="2880360" cy="1261517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Helvetica" pitchFamily="2" charset="0"/>
              </a:rPr>
              <a:t>Code Walkthrough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54E45F92-0326-4467-A43B-2F0717CD3C87}"/>
              </a:ext>
            </a:extLst>
          </p:cNvPr>
          <p:cNvSpPr>
            <a:spLocks noChangeAspect="1"/>
          </p:cNvSpPr>
          <p:nvPr/>
        </p:nvSpPr>
        <p:spPr>
          <a:xfrm>
            <a:off x="4953000" y="1839374"/>
            <a:ext cx="2286000" cy="225334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118FC50-9421-4553-96D3-A6B246168FEB}"/>
              </a:ext>
            </a:extLst>
          </p:cNvPr>
          <p:cNvSpPr/>
          <p:nvPr/>
        </p:nvSpPr>
        <p:spPr>
          <a:xfrm>
            <a:off x="5038078" y="1923364"/>
            <a:ext cx="2133600" cy="210312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0" name="Rounded Rectangle 23">
            <a:extLst>
              <a:ext uri="{FF2B5EF4-FFF2-40B4-BE49-F238E27FC236}">
                <a16:creationId xmlns:a16="http://schemas.microsoft.com/office/drawing/2014/main" id="{28C2B99E-A1B7-463D-B0D7-BDE5683472D5}"/>
              </a:ext>
            </a:extLst>
          </p:cNvPr>
          <p:cNvSpPr/>
          <p:nvPr/>
        </p:nvSpPr>
        <p:spPr>
          <a:xfrm>
            <a:off x="4662304" y="4304292"/>
            <a:ext cx="2880360" cy="1190897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Helvetica" pitchFamily="2" charset="0"/>
              </a:rPr>
              <a:t>Adding a site guide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20361811-E198-4368-BED2-843A53296E2E}"/>
              </a:ext>
            </a:extLst>
          </p:cNvPr>
          <p:cNvSpPr>
            <a:spLocks noChangeAspect="1"/>
          </p:cNvSpPr>
          <p:nvPr/>
        </p:nvSpPr>
        <p:spPr>
          <a:xfrm>
            <a:off x="8586794" y="1839374"/>
            <a:ext cx="2286000" cy="225334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0E6C342-84C8-4B14-A238-65245998A1EC}"/>
              </a:ext>
            </a:extLst>
          </p:cNvPr>
          <p:cNvSpPr/>
          <p:nvPr/>
        </p:nvSpPr>
        <p:spPr>
          <a:xfrm>
            <a:off x="8669289" y="1914485"/>
            <a:ext cx="2133600" cy="210312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" pitchFamily="2" charset="0"/>
            </a:endParaRPr>
          </a:p>
        </p:txBody>
      </p:sp>
      <p:sp>
        <p:nvSpPr>
          <p:cNvPr id="33" name="Rounded Rectangle 26">
            <a:extLst>
              <a:ext uri="{FF2B5EF4-FFF2-40B4-BE49-F238E27FC236}">
                <a16:creationId xmlns:a16="http://schemas.microsoft.com/office/drawing/2014/main" id="{B0107170-0F62-4EF2-8A84-70B98950B457}"/>
              </a:ext>
            </a:extLst>
          </p:cNvPr>
          <p:cNvSpPr/>
          <p:nvPr/>
        </p:nvSpPr>
        <p:spPr>
          <a:xfrm>
            <a:off x="8295909" y="4304292"/>
            <a:ext cx="2880360" cy="1190897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Helvetica" pitchFamily="2" charset="0"/>
              </a:rPr>
              <a:t>Troubleshooting Help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A498D46-9ABB-4D4C-88DA-46B470B4B88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77" t="8501" r="12477" b="21346"/>
          <a:stretch/>
        </p:blipFill>
        <p:spPr>
          <a:xfrm>
            <a:off x="8880473" y="1988925"/>
            <a:ext cx="1792912" cy="167606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2AE53E8-E151-42C5-A0F7-B1CFAD98E41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61" t="7067" r="26222" b="18934"/>
          <a:stretch/>
        </p:blipFill>
        <p:spPr>
          <a:xfrm>
            <a:off x="1863176" y="2022320"/>
            <a:ext cx="1250220" cy="188745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B6B18BB-982C-4DEE-B845-24B3546C108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11" t="5999" r="7689" b="21347"/>
          <a:stretch/>
        </p:blipFill>
        <p:spPr>
          <a:xfrm>
            <a:off x="5217263" y="2240279"/>
            <a:ext cx="1757473" cy="1509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5588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34"/>
          </p:nvPr>
        </p:nvSpPr>
        <p:spPr>
          <a:xfrm>
            <a:off x="615681" y="1463926"/>
            <a:ext cx="10979572" cy="285143"/>
          </a:xfrm>
        </p:spPr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2"/>
                </a:solidFill>
              </a:rPr>
              <a:t>What I have recently don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144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288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0432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0577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0721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60865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21009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81153" algn="l" defTabSz="920288" rtl="0" eaLnBrk="1" latinLnBrk="0" hangingPunct="1">
              <a:defRPr sz="18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accent2"/>
                </a:solidFill>
              </a:rPr>
              <a:t>Latest Improvemen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86312F-63A3-4A9C-BA7D-224E5F57B5E5}"/>
              </a:ext>
            </a:extLst>
          </p:cNvPr>
          <p:cNvSpPr/>
          <p:nvPr/>
        </p:nvSpPr>
        <p:spPr>
          <a:xfrm>
            <a:off x="1278785" y="6483302"/>
            <a:ext cx="1168782" cy="2268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8" algn="ctr">
              <a:spcAft>
                <a:spcPts val="4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8E8108-D7C5-41CE-A97C-1F0E5195B54D}"/>
              </a:ext>
            </a:extLst>
          </p:cNvPr>
          <p:cNvSpPr txBox="1"/>
          <p:nvPr/>
        </p:nvSpPr>
        <p:spPr>
          <a:xfrm>
            <a:off x="1196283" y="6423757"/>
            <a:ext cx="1904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uly 29, 2019</a:t>
            </a:r>
          </a:p>
        </p:txBody>
      </p:sp>
      <p:sp>
        <p:nvSpPr>
          <p:cNvPr id="20" name="Google Shape;398;p28">
            <a:extLst>
              <a:ext uri="{FF2B5EF4-FFF2-40B4-BE49-F238E27FC236}">
                <a16:creationId xmlns:a16="http://schemas.microsoft.com/office/drawing/2014/main" id="{9D3780B0-FA4D-44F1-A94B-0CEDC6437922}"/>
              </a:ext>
            </a:extLst>
          </p:cNvPr>
          <p:cNvSpPr/>
          <p:nvPr/>
        </p:nvSpPr>
        <p:spPr>
          <a:xfrm>
            <a:off x="4186697" y="4829337"/>
            <a:ext cx="4588329" cy="13255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21" name="Google Shape;398;p28">
            <a:extLst>
              <a:ext uri="{FF2B5EF4-FFF2-40B4-BE49-F238E27FC236}">
                <a16:creationId xmlns:a16="http://schemas.microsoft.com/office/drawing/2014/main" id="{C4A1239B-2CCA-4CDC-9BB8-70E32A7E9B80}"/>
              </a:ext>
            </a:extLst>
          </p:cNvPr>
          <p:cNvSpPr/>
          <p:nvPr/>
        </p:nvSpPr>
        <p:spPr>
          <a:xfrm>
            <a:off x="4186697" y="3321133"/>
            <a:ext cx="4588329" cy="13255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23" name="Google Shape;398;p28">
            <a:extLst>
              <a:ext uri="{FF2B5EF4-FFF2-40B4-BE49-F238E27FC236}">
                <a16:creationId xmlns:a16="http://schemas.microsoft.com/office/drawing/2014/main" id="{35A44C1F-A1B6-42C2-AEFB-21F71085F5A2}"/>
              </a:ext>
            </a:extLst>
          </p:cNvPr>
          <p:cNvSpPr/>
          <p:nvPr/>
        </p:nvSpPr>
        <p:spPr>
          <a:xfrm>
            <a:off x="4186697" y="1714646"/>
            <a:ext cx="4588329" cy="13255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24" name="Google Shape;397;p28">
            <a:extLst>
              <a:ext uri="{FF2B5EF4-FFF2-40B4-BE49-F238E27FC236}">
                <a16:creationId xmlns:a16="http://schemas.microsoft.com/office/drawing/2014/main" id="{CBB28F7E-1D6F-4806-B6B0-A8E5F5A2DD8B}"/>
              </a:ext>
            </a:extLst>
          </p:cNvPr>
          <p:cNvSpPr/>
          <p:nvPr/>
        </p:nvSpPr>
        <p:spPr>
          <a:xfrm>
            <a:off x="4027735" y="3429406"/>
            <a:ext cx="4588329" cy="12836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Helvetica" pitchFamily="2" charset="0"/>
                <a:ea typeface="Calibri"/>
                <a:cs typeface="Calibri"/>
                <a:sym typeface="Calibri"/>
              </a:rPr>
              <a:t>Renamed the SQL tables and folders so its more logical</a:t>
            </a:r>
          </a:p>
        </p:txBody>
      </p:sp>
      <p:sp>
        <p:nvSpPr>
          <p:cNvPr id="34" name="Google Shape;398;p28">
            <a:extLst>
              <a:ext uri="{FF2B5EF4-FFF2-40B4-BE49-F238E27FC236}">
                <a16:creationId xmlns:a16="http://schemas.microsoft.com/office/drawing/2014/main" id="{17E7419F-E494-4144-B9D1-8DFEBCC8E765}"/>
              </a:ext>
            </a:extLst>
          </p:cNvPr>
          <p:cNvSpPr/>
          <p:nvPr/>
        </p:nvSpPr>
        <p:spPr>
          <a:xfrm>
            <a:off x="4027735" y="1836871"/>
            <a:ext cx="4588329" cy="1325563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406;p28">
            <a:extLst>
              <a:ext uri="{FF2B5EF4-FFF2-40B4-BE49-F238E27FC236}">
                <a16:creationId xmlns:a16="http://schemas.microsoft.com/office/drawing/2014/main" id="{97F96B60-BFA0-42CF-872E-F9CC3AF07F7E}"/>
              </a:ext>
            </a:extLst>
          </p:cNvPr>
          <p:cNvSpPr/>
          <p:nvPr/>
        </p:nvSpPr>
        <p:spPr>
          <a:xfrm>
            <a:off x="3996358" y="1861776"/>
            <a:ext cx="4589987" cy="12867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Helvetica" pitchFamily="2" charset="0"/>
                <a:ea typeface="Calibri"/>
                <a:cs typeface="Calibri" panose="020F0502020204030204" pitchFamily="34" charset="0"/>
                <a:sym typeface="Calibri"/>
              </a:rPr>
              <a:t>Added Eventbrite and events to the system</a:t>
            </a:r>
          </a:p>
        </p:txBody>
      </p:sp>
      <p:sp>
        <p:nvSpPr>
          <p:cNvPr id="36" name="Google Shape;407;p28">
            <a:extLst>
              <a:ext uri="{FF2B5EF4-FFF2-40B4-BE49-F238E27FC236}">
                <a16:creationId xmlns:a16="http://schemas.microsoft.com/office/drawing/2014/main" id="{3A3B01C2-CAB8-44A7-9248-8CD2CDD87CEF}"/>
              </a:ext>
            </a:extLst>
          </p:cNvPr>
          <p:cNvSpPr/>
          <p:nvPr/>
        </p:nvSpPr>
        <p:spPr>
          <a:xfrm>
            <a:off x="4186697" y="3201916"/>
            <a:ext cx="427041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800">
              <a:solidFill>
                <a:schemeClr val="dk1"/>
              </a:solidFill>
              <a:latin typeface="Helvetica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37" name="Google Shape;408;p28">
            <a:extLst>
              <a:ext uri="{FF2B5EF4-FFF2-40B4-BE49-F238E27FC236}">
                <a16:creationId xmlns:a16="http://schemas.microsoft.com/office/drawing/2014/main" id="{527C4384-D90C-4D08-A2BE-A29160E9C443}"/>
              </a:ext>
            </a:extLst>
          </p:cNvPr>
          <p:cNvSpPr/>
          <p:nvPr/>
        </p:nvSpPr>
        <p:spPr>
          <a:xfrm>
            <a:off x="4027737" y="4936451"/>
            <a:ext cx="4588329" cy="12867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Helvetica" pitchFamily="2" charset="0"/>
                <a:ea typeface="Calibri"/>
                <a:cs typeface="Calibri"/>
                <a:sym typeface="Calibri"/>
              </a:rPr>
              <a:t>Fixed the way strings were interacting in Python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A29F5BBE-B50F-416E-A8B8-22D5B9D11A3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97" t="2154" r="9541" b="16564"/>
          <a:stretch/>
        </p:blipFill>
        <p:spPr>
          <a:xfrm>
            <a:off x="2677211" y="3590008"/>
            <a:ext cx="1153903" cy="114292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49CE9D1-DBE6-4EC4-BD77-8B5E8518D1A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12" t="3067" r="10936" b="17467"/>
          <a:stretch/>
        </p:blipFill>
        <p:spPr>
          <a:xfrm>
            <a:off x="2574991" y="1836871"/>
            <a:ext cx="1365701" cy="138511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B8C02D8-BCCA-4099-907F-2C5E9411E3F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22" b="12800"/>
          <a:stretch/>
        </p:blipFill>
        <p:spPr>
          <a:xfrm>
            <a:off x="2574991" y="4987787"/>
            <a:ext cx="1316373" cy="120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2160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M Pitchbook template USL">
  <a:themeElements>
    <a:clrScheme name="AM Pitchbook template USL">
      <a:dk1>
        <a:srgbClr val="767171"/>
      </a:dk1>
      <a:lt1>
        <a:sysClr val="window" lastClr="FFFFFF"/>
      </a:lt1>
      <a:dk2>
        <a:srgbClr val="969696"/>
      </a:dk2>
      <a:lt2>
        <a:srgbClr val="CF7F00"/>
      </a:lt2>
      <a:accent1>
        <a:srgbClr val="002B49"/>
      </a:accent1>
      <a:accent2>
        <a:srgbClr val="0085CA"/>
      </a:accent2>
      <a:accent3>
        <a:srgbClr val="5E8AB4"/>
      </a:accent3>
      <a:accent4>
        <a:srgbClr val="29702A"/>
      </a:accent4>
      <a:accent5>
        <a:srgbClr val="00677F"/>
      </a:accent5>
      <a:accent6>
        <a:srgbClr val="51195D"/>
      </a:accent6>
      <a:hlink>
        <a:srgbClr val="CF7F00"/>
      </a:hlink>
      <a:folHlink>
        <a:srgbClr val="51195D"/>
      </a:folHlink>
    </a:clrScheme>
    <a:fontScheme name="Arial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588" algn="ctr">
          <a:spcAft>
            <a:spcPts val="400"/>
          </a:spcAft>
          <a:defRPr sz="10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M Template USL.potx" id="{FDBD8F88-439A-4C44-A021-1B2D86D26C26}" vid="{84FDE8E5-C8B4-4EA2-89F9-97627D65243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40</TotalTime>
  <Words>697</Words>
  <Application>Microsoft Office PowerPoint</Application>
  <PresentationFormat>Widescreen</PresentationFormat>
  <Paragraphs>107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Calibri</vt:lpstr>
      <vt:lpstr>Courier New</vt:lpstr>
      <vt:lpstr>Helvetica</vt:lpstr>
      <vt:lpstr>Impact</vt:lpstr>
      <vt:lpstr>Segoe UI</vt:lpstr>
      <vt:lpstr>Wingdings</vt:lpstr>
      <vt:lpstr>AM Pitchbook template USL</vt:lpstr>
      <vt:lpstr>think-cell Slide</vt:lpstr>
      <vt:lpstr>William Hunter Final Report: Week of 7/29</vt:lpstr>
      <vt:lpstr>Introduction to Opportunity Hunter</vt:lpstr>
      <vt:lpstr>Benefits of the Project</vt:lpstr>
      <vt:lpstr>Information Captured</vt:lpstr>
      <vt:lpstr>Overall Process</vt:lpstr>
      <vt:lpstr>Example Report</vt:lpstr>
      <vt:lpstr>Example of Data Stored</vt:lpstr>
      <vt:lpstr>Opportunity Hunter Guide </vt:lpstr>
      <vt:lpstr>Latest Improvements</vt:lpstr>
      <vt:lpstr>Next Steps</vt:lpstr>
      <vt:lpstr>Big Accomplishments</vt:lpstr>
      <vt:lpstr>What I have learned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 to: Data Analytics, Data Science, &amp; Data Visualization</dc:title>
  <dc:creator>William Hunter</dc:creator>
  <cp:lastModifiedBy>Hunter, William</cp:lastModifiedBy>
  <cp:revision>71</cp:revision>
  <dcterms:created xsi:type="dcterms:W3CDTF">2019-06-14T16:11:32Z</dcterms:created>
  <dcterms:modified xsi:type="dcterms:W3CDTF">2019-07-29T15:50:49Z</dcterms:modified>
</cp:coreProperties>
</file>